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charts/chart11.xml" ContentType="application/vnd.openxmlformats-officedocument.drawingml.chart+xml"/>
  <Override PartName="/ppt/charts/chart12.xml" ContentType="application/vnd.openxmlformats-officedocument.drawingml.chart+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0.xml" ContentType="application/vnd.openxmlformats-officedocument.presentationml.notesSlide+xml"/>
  <Override PartName="/ppt/tags/tag140.xml" ContentType="application/vnd.openxmlformats-officedocument.presentationml.tags+xml"/>
  <Override PartName="/ppt/notesSlides/notesSlide11.xml" ContentType="application/vnd.openxmlformats-officedocument.presentationml.notesSlide+xml"/>
  <Override PartName="/ppt/tags/tag141.xml" ContentType="application/vnd.openxmlformats-officedocument.presentationml.tags+xml"/>
  <Override PartName="/ppt/notesSlides/notesSlide12.xml" ContentType="application/vnd.openxmlformats-officedocument.presentationml.notesSlide+xml"/>
  <Override PartName="/ppt/tags/tag142.xml" ContentType="application/vnd.openxmlformats-officedocument.presentationml.tags+xml"/>
  <Override PartName="/ppt/notesSlides/notesSlide13.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4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4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77" r:id="rId5"/>
  </p:sldMasterIdLst>
  <p:notesMasterIdLst>
    <p:notesMasterId r:id="rId33"/>
  </p:notesMasterIdLst>
  <p:sldIdLst>
    <p:sldId id="310" r:id="rId6"/>
    <p:sldId id="327" r:id="rId7"/>
    <p:sldId id="267" r:id="rId8"/>
    <p:sldId id="344" r:id="rId9"/>
    <p:sldId id="345" r:id="rId10"/>
    <p:sldId id="331" r:id="rId11"/>
    <p:sldId id="292" r:id="rId12"/>
    <p:sldId id="330" r:id="rId13"/>
    <p:sldId id="346" r:id="rId14"/>
    <p:sldId id="333" r:id="rId15"/>
    <p:sldId id="365" r:id="rId16"/>
    <p:sldId id="329" r:id="rId17"/>
    <p:sldId id="271" r:id="rId18"/>
    <p:sldId id="326" r:id="rId19"/>
    <p:sldId id="258" r:id="rId20"/>
    <p:sldId id="363" r:id="rId21"/>
    <p:sldId id="369" r:id="rId22"/>
    <p:sldId id="370" r:id="rId23"/>
    <p:sldId id="368" r:id="rId24"/>
    <p:sldId id="301" r:id="rId25"/>
    <p:sldId id="280" r:id="rId26"/>
    <p:sldId id="274" r:id="rId27"/>
    <p:sldId id="486" r:id="rId28"/>
    <p:sldId id="272" r:id="rId29"/>
    <p:sldId id="488" r:id="rId30"/>
    <p:sldId id="419" r:id="rId31"/>
    <p:sldId id="487" r:id="rId32"/>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era Raquel Lopes Linhares da Silva" initials="VRLLdS" lastIdx="1" clrIdx="0">
    <p:extLst>
      <p:ext uri="{19B8F6BF-5375-455C-9EA6-DF929625EA0E}">
        <p15:presenceInfo xmlns:p15="http://schemas.microsoft.com/office/powerpoint/2012/main" userId="S-1-5-21-2321219463-4261475146-1807988925-53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5C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Estilo Claro 1 - Ênfas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14" autoAdjust="0"/>
    <p:restoredTop sz="85778" autoAdjust="0"/>
  </p:normalViewPr>
  <p:slideViewPr>
    <p:cSldViewPr snapToGrid="0">
      <p:cViewPr varScale="1">
        <p:scale>
          <a:sx n="77" d="100"/>
          <a:sy n="77" d="100"/>
        </p:scale>
        <p:origin x="1056" y="96"/>
      </p:cViewPr>
      <p:guideLst/>
    </p:cSldViewPr>
  </p:slideViewPr>
  <p:notesTextViewPr>
    <p:cViewPr>
      <p:scale>
        <a:sx n="1" d="1"/>
        <a:sy n="1" d="1"/>
      </p:scale>
      <p:origin x="0" y="0"/>
    </p:cViewPr>
  </p:notesTextViewPr>
  <p:notesViewPr>
    <p:cSldViewPr snapToGrid="0">
      <p:cViewPr varScale="1">
        <p:scale>
          <a:sx n="92" d="100"/>
          <a:sy n="92" d="100"/>
        </p:scale>
        <p:origin x="1032"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800"/>
      </a:pPr>
      <a:endParaRPr lang="pt-BR"/>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diagrams/_rels/data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jpg"/></Relationships>
</file>

<file path=ppt/diagrams/_rels/drawing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image" Target="../media/image17.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5CBDD8-46B3-4BD5-990D-69F1E4F2A361}" type="doc">
      <dgm:prSet loTypeId="urn:microsoft.com/office/officeart/2005/8/layout/pyramid2" loCatId="list" qsTypeId="urn:microsoft.com/office/officeart/2005/8/quickstyle/simple1" qsCatId="simple" csTypeId="urn:microsoft.com/office/officeart/2005/8/colors/accent1_2" csCatId="accent1" phldr="1"/>
      <dgm:spPr/>
      <dgm:t>
        <a:bodyPr/>
        <a:lstStyle/>
        <a:p>
          <a:endParaRPr lang="pt-BR"/>
        </a:p>
      </dgm:t>
    </dgm:pt>
    <dgm:pt modelId="{60F9E84D-2E10-4063-A719-BD660BAAEBB8}">
      <dgm:prSet phldrT="[Texto]" custT="1"/>
      <dgm:spPr>
        <a:solidFill>
          <a:schemeClr val="bg1">
            <a:alpha val="90000"/>
          </a:schemeClr>
        </a:solidFill>
        <a:ln>
          <a:solidFill>
            <a:srgbClr val="035363"/>
          </a:solidFill>
        </a:ln>
      </dgm:spPr>
      <dgm:t>
        <a:bodyPr/>
        <a:lstStyle/>
        <a:p>
          <a:r>
            <a:rPr lang="pt-BR" sz="2000" b="1" dirty="0">
              <a:solidFill>
                <a:srgbClr val="035363"/>
              </a:solidFill>
            </a:rPr>
            <a:t>Conceitos</a:t>
          </a:r>
        </a:p>
      </dgm:t>
    </dgm:pt>
    <dgm:pt modelId="{1FF775B7-FCD4-4DAF-A8B8-60C7CF20D627}" type="parTrans" cxnId="{270F042A-D0DD-4D2D-B3A7-80DD878818BE}">
      <dgm:prSet/>
      <dgm:spPr/>
      <dgm:t>
        <a:bodyPr/>
        <a:lstStyle/>
        <a:p>
          <a:endParaRPr lang="pt-BR"/>
        </a:p>
      </dgm:t>
    </dgm:pt>
    <dgm:pt modelId="{34523254-86DB-42D7-BBEE-D7A82AB4A34B}" type="sibTrans" cxnId="{270F042A-D0DD-4D2D-B3A7-80DD878818BE}">
      <dgm:prSet/>
      <dgm:spPr/>
      <dgm:t>
        <a:bodyPr/>
        <a:lstStyle/>
        <a:p>
          <a:endParaRPr lang="pt-BR"/>
        </a:p>
      </dgm:t>
    </dgm:pt>
    <dgm:pt modelId="{72316B6A-3B1B-4C3D-A5F1-9A97F9718D55}">
      <dgm:prSet phldrT="[Texto]" custT="1"/>
      <dgm:spPr>
        <a:ln>
          <a:solidFill>
            <a:srgbClr val="035363"/>
          </a:solidFill>
        </a:ln>
      </dgm:spPr>
      <dgm:t>
        <a:bodyPr/>
        <a:lstStyle/>
        <a:p>
          <a:r>
            <a:rPr lang="pt-BR" sz="2000" b="1" dirty="0">
              <a:solidFill>
                <a:srgbClr val="035363"/>
              </a:solidFill>
            </a:rPr>
            <a:t>Controles Internos da Gestão</a:t>
          </a:r>
        </a:p>
      </dgm:t>
    </dgm:pt>
    <dgm:pt modelId="{467CFEA6-6B14-4BF1-B042-99DD2DC72FF9}" type="parTrans" cxnId="{8670024D-87C6-452E-A06A-16906A19ABE2}">
      <dgm:prSet/>
      <dgm:spPr/>
      <dgm:t>
        <a:bodyPr/>
        <a:lstStyle/>
        <a:p>
          <a:endParaRPr lang="pt-BR"/>
        </a:p>
      </dgm:t>
    </dgm:pt>
    <dgm:pt modelId="{EB59C9EC-086B-4F1B-BA17-1F76A4818E94}" type="sibTrans" cxnId="{8670024D-87C6-452E-A06A-16906A19ABE2}">
      <dgm:prSet/>
      <dgm:spPr/>
      <dgm:t>
        <a:bodyPr/>
        <a:lstStyle/>
        <a:p>
          <a:endParaRPr lang="pt-BR"/>
        </a:p>
      </dgm:t>
    </dgm:pt>
    <dgm:pt modelId="{EE9C390F-E49A-4B01-927A-71FA1B136DEB}">
      <dgm:prSet phldrT="[Texto]" custT="1"/>
      <dgm:spPr>
        <a:ln>
          <a:solidFill>
            <a:srgbClr val="035363"/>
          </a:solidFill>
        </a:ln>
      </dgm:spPr>
      <dgm:t>
        <a:bodyPr/>
        <a:lstStyle/>
        <a:p>
          <a:r>
            <a:rPr lang="pt-BR" sz="2000" b="1" dirty="0">
              <a:solidFill>
                <a:srgbClr val="035363"/>
              </a:solidFill>
            </a:rPr>
            <a:t>Gestão de Riscos</a:t>
          </a:r>
        </a:p>
      </dgm:t>
    </dgm:pt>
    <dgm:pt modelId="{1DE680DA-A7C3-432F-8D7B-C0C16D05F77B}" type="parTrans" cxnId="{5CEDD3F5-C61D-4ABF-9CEE-BFF8127090C4}">
      <dgm:prSet/>
      <dgm:spPr/>
      <dgm:t>
        <a:bodyPr/>
        <a:lstStyle/>
        <a:p>
          <a:endParaRPr lang="pt-BR"/>
        </a:p>
      </dgm:t>
    </dgm:pt>
    <dgm:pt modelId="{ABD7D332-B787-4E6D-8CA3-2BE2C10F52A1}" type="sibTrans" cxnId="{5CEDD3F5-C61D-4ABF-9CEE-BFF8127090C4}">
      <dgm:prSet/>
      <dgm:spPr/>
      <dgm:t>
        <a:bodyPr/>
        <a:lstStyle/>
        <a:p>
          <a:endParaRPr lang="pt-BR"/>
        </a:p>
      </dgm:t>
    </dgm:pt>
    <dgm:pt modelId="{1F9DDA4B-241D-4BD1-AC5A-0D5DEA2C0201}">
      <dgm:prSet phldrT="[Texto]" custT="1"/>
      <dgm:spPr>
        <a:ln>
          <a:solidFill>
            <a:srgbClr val="035363"/>
          </a:solidFill>
        </a:ln>
      </dgm:spPr>
      <dgm:t>
        <a:bodyPr/>
        <a:lstStyle/>
        <a:p>
          <a:r>
            <a:rPr lang="pt-BR" sz="2000" b="1" dirty="0">
              <a:solidFill>
                <a:srgbClr val="035363"/>
              </a:solidFill>
            </a:rPr>
            <a:t>Governança</a:t>
          </a:r>
        </a:p>
      </dgm:t>
    </dgm:pt>
    <dgm:pt modelId="{951079CF-A092-44B8-911C-6AD4024265E4}" type="parTrans" cxnId="{4F2C7F8B-A437-4F8B-80B9-4362164A6E0D}">
      <dgm:prSet/>
      <dgm:spPr/>
      <dgm:t>
        <a:bodyPr/>
        <a:lstStyle/>
        <a:p>
          <a:endParaRPr lang="pt-BR"/>
        </a:p>
      </dgm:t>
    </dgm:pt>
    <dgm:pt modelId="{EA8FB85B-87A8-4B4D-AD38-5FC331DEA58A}" type="sibTrans" cxnId="{4F2C7F8B-A437-4F8B-80B9-4362164A6E0D}">
      <dgm:prSet/>
      <dgm:spPr/>
      <dgm:t>
        <a:bodyPr/>
        <a:lstStyle/>
        <a:p>
          <a:endParaRPr lang="pt-BR"/>
        </a:p>
      </dgm:t>
    </dgm:pt>
    <dgm:pt modelId="{ECA821A5-BDE9-4932-9587-CB5F70C2F293}">
      <dgm:prSet phldrT="[Texto]" custT="1"/>
      <dgm:spPr>
        <a:ln>
          <a:solidFill>
            <a:srgbClr val="035363"/>
          </a:solidFill>
        </a:ln>
      </dgm:spPr>
      <dgm:t>
        <a:bodyPr/>
        <a:lstStyle/>
        <a:p>
          <a:r>
            <a:rPr lang="pt-BR" sz="2000" b="1" dirty="0">
              <a:solidFill>
                <a:srgbClr val="035363"/>
              </a:solidFill>
            </a:rPr>
            <a:t>Comitê de Governança, Riscos e Controles</a:t>
          </a:r>
        </a:p>
      </dgm:t>
    </dgm:pt>
    <dgm:pt modelId="{130F47DF-C890-49EB-8A81-953D33FE5061}" type="parTrans" cxnId="{3D81D5F7-A1B2-4BF5-8A83-BAB24C6557BD}">
      <dgm:prSet/>
      <dgm:spPr/>
      <dgm:t>
        <a:bodyPr/>
        <a:lstStyle/>
        <a:p>
          <a:endParaRPr lang="pt-BR"/>
        </a:p>
      </dgm:t>
    </dgm:pt>
    <dgm:pt modelId="{5F9B8B7F-BFB4-4C64-B105-BEC7FCD3728E}" type="sibTrans" cxnId="{3D81D5F7-A1B2-4BF5-8A83-BAB24C6557BD}">
      <dgm:prSet/>
      <dgm:spPr/>
      <dgm:t>
        <a:bodyPr/>
        <a:lstStyle/>
        <a:p>
          <a:endParaRPr lang="pt-BR"/>
        </a:p>
      </dgm:t>
    </dgm:pt>
    <dgm:pt modelId="{11580F58-F1BF-4507-B8F0-2F2B8B8B03CE}">
      <dgm:prSet phldrT="[Texto]" custT="1"/>
      <dgm:spPr>
        <a:ln>
          <a:solidFill>
            <a:srgbClr val="035363"/>
          </a:solidFill>
        </a:ln>
      </dgm:spPr>
      <dgm:t>
        <a:bodyPr/>
        <a:lstStyle/>
        <a:p>
          <a:r>
            <a:rPr lang="pt-BR" sz="2000" b="1" dirty="0">
              <a:solidFill>
                <a:srgbClr val="035363"/>
              </a:solidFill>
            </a:rPr>
            <a:t>Disposições Finais</a:t>
          </a:r>
        </a:p>
      </dgm:t>
    </dgm:pt>
    <dgm:pt modelId="{5651D171-3858-4DE1-B259-9932BA55ED45}" type="parTrans" cxnId="{A83720FA-576F-43C8-9022-D08DD23E2641}">
      <dgm:prSet/>
      <dgm:spPr/>
      <dgm:t>
        <a:bodyPr/>
        <a:lstStyle/>
        <a:p>
          <a:endParaRPr lang="pt-BR"/>
        </a:p>
      </dgm:t>
    </dgm:pt>
    <dgm:pt modelId="{16A8D36C-F43B-46A7-851C-D3AB702F22D5}" type="sibTrans" cxnId="{A83720FA-576F-43C8-9022-D08DD23E2641}">
      <dgm:prSet/>
      <dgm:spPr/>
      <dgm:t>
        <a:bodyPr/>
        <a:lstStyle/>
        <a:p>
          <a:endParaRPr lang="pt-BR"/>
        </a:p>
      </dgm:t>
    </dgm:pt>
    <dgm:pt modelId="{C407126C-7469-48BC-80E9-873273511104}" type="pres">
      <dgm:prSet presAssocID="{BF5CBDD8-46B3-4BD5-990D-69F1E4F2A361}" presName="compositeShape" presStyleCnt="0">
        <dgm:presLayoutVars>
          <dgm:dir/>
          <dgm:resizeHandles/>
        </dgm:presLayoutVars>
      </dgm:prSet>
      <dgm:spPr/>
    </dgm:pt>
    <dgm:pt modelId="{4248FE6C-B38F-4E64-946B-F4CE80F1E7AC}" type="pres">
      <dgm:prSet presAssocID="{BF5CBDD8-46B3-4BD5-990D-69F1E4F2A361}" presName="pyramid" presStyleLbl="node1" presStyleIdx="0" presStyleCnt="1" custLinFactNeighborX="-14396" custLinFactNeighborY="-1505"/>
      <dgm:spPr>
        <a:solidFill>
          <a:srgbClr val="006666"/>
        </a:solidFill>
      </dgm:spPr>
    </dgm:pt>
    <dgm:pt modelId="{2AC692FE-F2F9-4F2F-BF1E-D4FC0D9ECDEE}" type="pres">
      <dgm:prSet presAssocID="{BF5CBDD8-46B3-4BD5-990D-69F1E4F2A361}" presName="theList" presStyleCnt="0"/>
      <dgm:spPr/>
    </dgm:pt>
    <dgm:pt modelId="{CD5168C8-13C8-4B22-8B65-11FA87039554}" type="pres">
      <dgm:prSet presAssocID="{60F9E84D-2E10-4063-A719-BD660BAAEBB8}" presName="aNode" presStyleLbl="fgAcc1" presStyleIdx="0" presStyleCnt="6" custScaleX="195251" custLinFactNeighborX="28339" custLinFactNeighborY="57578">
        <dgm:presLayoutVars>
          <dgm:bulletEnabled val="1"/>
        </dgm:presLayoutVars>
      </dgm:prSet>
      <dgm:spPr/>
    </dgm:pt>
    <dgm:pt modelId="{500EE790-868C-401E-A1C3-DAEA56D45036}" type="pres">
      <dgm:prSet presAssocID="{60F9E84D-2E10-4063-A719-BD660BAAEBB8}" presName="aSpace" presStyleCnt="0"/>
      <dgm:spPr/>
    </dgm:pt>
    <dgm:pt modelId="{E825E2C1-8C8E-4320-B331-6B2BFBF4FB46}" type="pres">
      <dgm:prSet presAssocID="{72316B6A-3B1B-4C3D-A5F1-9A97F9718D55}" presName="aNode" presStyleLbl="fgAcc1" presStyleIdx="1" presStyleCnt="6" custScaleX="195251" custLinFactNeighborX="28339" custLinFactNeighborY="57578">
        <dgm:presLayoutVars>
          <dgm:bulletEnabled val="1"/>
        </dgm:presLayoutVars>
      </dgm:prSet>
      <dgm:spPr/>
    </dgm:pt>
    <dgm:pt modelId="{E112AEDC-836F-4663-BC51-83F52CAB5FC4}" type="pres">
      <dgm:prSet presAssocID="{72316B6A-3B1B-4C3D-A5F1-9A97F9718D55}" presName="aSpace" presStyleCnt="0"/>
      <dgm:spPr/>
    </dgm:pt>
    <dgm:pt modelId="{F43AFD1D-C944-4457-82C3-DEC2001E31C1}" type="pres">
      <dgm:prSet presAssocID="{EE9C390F-E49A-4B01-927A-71FA1B136DEB}" presName="aNode" presStyleLbl="fgAcc1" presStyleIdx="2" presStyleCnt="6" custScaleX="195251" custLinFactNeighborX="28339" custLinFactNeighborY="57578">
        <dgm:presLayoutVars>
          <dgm:bulletEnabled val="1"/>
        </dgm:presLayoutVars>
      </dgm:prSet>
      <dgm:spPr/>
    </dgm:pt>
    <dgm:pt modelId="{E494EF5A-21B9-4073-8B97-606B6F0069BD}" type="pres">
      <dgm:prSet presAssocID="{EE9C390F-E49A-4B01-927A-71FA1B136DEB}" presName="aSpace" presStyleCnt="0"/>
      <dgm:spPr/>
    </dgm:pt>
    <dgm:pt modelId="{124BA426-6811-424F-AE59-F33629DA31F1}" type="pres">
      <dgm:prSet presAssocID="{1F9DDA4B-241D-4BD1-AC5A-0D5DEA2C0201}" presName="aNode" presStyleLbl="fgAcc1" presStyleIdx="3" presStyleCnt="6" custScaleX="195251" custLinFactNeighborX="28339" custLinFactNeighborY="57578">
        <dgm:presLayoutVars>
          <dgm:bulletEnabled val="1"/>
        </dgm:presLayoutVars>
      </dgm:prSet>
      <dgm:spPr/>
    </dgm:pt>
    <dgm:pt modelId="{E4A7F8F8-0C95-4319-9FB9-50599B937388}" type="pres">
      <dgm:prSet presAssocID="{1F9DDA4B-241D-4BD1-AC5A-0D5DEA2C0201}" presName="aSpace" presStyleCnt="0"/>
      <dgm:spPr/>
    </dgm:pt>
    <dgm:pt modelId="{4A3B4FFC-80BF-4D3E-9F41-7932490ACCD0}" type="pres">
      <dgm:prSet presAssocID="{ECA821A5-BDE9-4932-9587-CB5F70C2F293}" presName="aNode" presStyleLbl="fgAcc1" presStyleIdx="4" presStyleCnt="6" custScaleX="195251" custLinFactNeighborX="28339" custLinFactNeighborY="57578">
        <dgm:presLayoutVars>
          <dgm:bulletEnabled val="1"/>
        </dgm:presLayoutVars>
      </dgm:prSet>
      <dgm:spPr/>
    </dgm:pt>
    <dgm:pt modelId="{8D6B0359-66CC-4985-B13B-636CF47260B2}" type="pres">
      <dgm:prSet presAssocID="{ECA821A5-BDE9-4932-9587-CB5F70C2F293}" presName="aSpace" presStyleCnt="0"/>
      <dgm:spPr/>
    </dgm:pt>
    <dgm:pt modelId="{DACA87EC-E128-4CC5-9462-08B3BAD23A77}" type="pres">
      <dgm:prSet presAssocID="{11580F58-F1BF-4507-B8F0-2F2B8B8B03CE}" presName="aNode" presStyleLbl="fgAcc1" presStyleIdx="5" presStyleCnt="6" custScaleX="195251" custLinFactNeighborX="29389" custLinFactNeighborY="69170">
        <dgm:presLayoutVars>
          <dgm:bulletEnabled val="1"/>
        </dgm:presLayoutVars>
      </dgm:prSet>
      <dgm:spPr/>
    </dgm:pt>
    <dgm:pt modelId="{1B2E03D2-48E8-4669-A082-A0AE7B20AD37}" type="pres">
      <dgm:prSet presAssocID="{11580F58-F1BF-4507-B8F0-2F2B8B8B03CE}" presName="aSpace" presStyleCnt="0"/>
      <dgm:spPr/>
    </dgm:pt>
  </dgm:ptLst>
  <dgm:cxnLst>
    <dgm:cxn modelId="{270F042A-D0DD-4D2D-B3A7-80DD878818BE}" srcId="{BF5CBDD8-46B3-4BD5-990D-69F1E4F2A361}" destId="{60F9E84D-2E10-4063-A719-BD660BAAEBB8}" srcOrd="0" destOrd="0" parTransId="{1FF775B7-FCD4-4DAF-A8B8-60C7CF20D627}" sibTransId="{34523254-86DB-42D7-BBEE-D7A82AB4A34B}"/>
    <dgm:cxn modelId="{70CEAD48-7E9C-48B8-962B-F4D3AFDAB62F}" type="presOf" srcId="{11580F58-F1BF-4507-B8F0-2F2B8B8B03CE}" destId="{DACA87EC-E128-4CC5-9462-08B3BAD23A77}" srcOrd="0" destOrd="0" presId="urn:microsoft.com/office/officeart/2005/8/layout/pyramid2"/>
    <dgm:cxn modelId="{8670024D-87C6-452E-A06A-16906A19ABE2}" srcId="{BF5CBDD8-46B3-4BD5-990D-69F1E4F2A361}" destId="{72316B6A-3B1B-4C3D-A5F1-9A97F9718D55}" srcOrd="1" destOrd="0" parTransId="{467CFEA6-6B14-4BF1-B042-99DD2DC72FF9}" sibTransId="{EB59C9EC-086B-4F1B-BA17-1F76A4818E94}"/>
    <dgm:cxn modelId="{3ECC5485-FA37-491B-8BB0-99FD39361F22}" type="presOf" srcId="{60F9E84D-2E10-4063-A719-BD660BAAEBB8}" destId="{CD5168C8-13C8-4B22-8B65-11FA87039554}" srcOrd="0" destOrd="0" presId="urn:microsoft.com/office/officeart/2005/8/layout/pyramid2"/>
    <dgm:cxn modelId="{4F2C7F8B-A437-4F8B-80B9-4362164A6E0D}" srcId="{BF5CBDD8-46B3-4BD5-990D-69F1E4F2A361}" destId="{1F9DDA4B-241D-4BD1-AC5A-0D5DEA2C0201}" srcOrd="3" destOrd="0" parTransId="{951079CF-A092-44B8-911C-6AD4024265E4}" sibTransId="{EA8FB85B-87A8-4B4D-AD38-5FC331DEA58A}"/>
    <dgm:cxn modelId="{6FE8B690-1370-41A4-8E92-580B4A9194FA}" type="presOf" srcId="{EE9C390F-E49A-4B01-927A-71FA1B136DEB}" destId="{F43AFD1D-C944-4457-82C3-DEC2001E31C1}" srcOrd="0" destOrd="0" presId="urn:microsoft.com/office/officeart/2005/8/layout/pyramid2"/>
    <dgm:cxn modelId="{CDAACCA4-9CED-447F-A45A-070A79DF1732}" type="presOf" srcId="{BF5CBDD8-46B3-4BD5-990D-69F1E4F2A361}" destId="{C407126C-7469-48BC-80E9-873273511104}" srcOrd="0" destOrd="0" presId="urn:microsoft.com/office/officeart/2005/8/layout/pyramid2"/>
    <dgm:cxn modelId="{829B93F1-FA8E-4B56-8319-3EC6661E9477}" type="presOf" srcId="{72316B6A-3B1B-4C3D-A5F1-9A97F9718D55}" destId="{E825E2C1-8C8E-4320-B331-6B2BFBF4FB46}" srcOrd="0" destOrd="0" presId="urn:microsoft.com/office/officeart/2005/8/layout/pyramid2"/>
    <dgm:cxn modelId="{5CEDD3F5-C61D-4ABF-9CEE-BFF8127090C4}" srcId="{BF5CBDD8-46B3-4BD5-990D-69F1E4F2A361}" destId="{EE9C390F-E49A-4B01-927A-71FA1B136DEB}" srcOrd="2" destOrd="0" parTransId="{1DE680DA-A7C3-432F-8D7B-C0C16D05F77B}" sibTransId="{ABD7D332-B787-4E6D-8CA3-2BE2C10F52A1}"/>
    <dgm:cxn modelId="{3D81D5F7-A1B2-4BF5-8A83-BAB24C6557BD}" srcId="{BF5CBDD8-46B3-4BD5-990D-69F1E4F2A361}" destId="{ECA821A5-BDE9-4932-9587-CB5F70C2F293}" srcOrd="4" destOrd="0" parTransId="{130F47DF-C890-49EB-8A81-953D33FE5061}" sibTransId="{5F9B8B7F-BFB4-4C64-B105-BEC7FCD3728E}"/>
    <dgm:cxn modelId="{1867A0F8-20B0-4164-9271-968CD50831A2}" type="presOf" srcId="{ECA821A5-BDE9-4932-9587-CB5F70C2F293}" destId="{4A3B4FFC-80BF-4D3E-9F41-7932490ACCD0}" srcOrd="0" destOrd="0" presId="urn:microsoft.com/office/officeart/2005/8/layout/pyramid2"/>
    <dgm:cxn modelId="{A83720FA-576F-43C8-9022-D08DD23E2641}" srcId="{BF5CBDD8-46B3-4BD5-990D-69F1E4F2A361}" destId="{11580F58-F1BF-4507-B8F0-2F2B8B8B03CE}" srcOrd="5" destOrd="0" parTransId="{5651D171-3858-4DE1-B259-9932BA55ED45}" sibTransId="{16A8D36C-F43B-46A7-851C-D3AB702F22D5}"/>
    <dgm:cxn modelId="{EE1887FC-DEC2-4C27-BF82-B78CC343F62E}" type="presOf" srcId="{1F9DDA4B-241D-4BD1-AC5A-0D5DEA2C0201}" destId="{124BA426-6811-424F-AE59-F33629DA31F1}" srcOrd="0" destOrd="0" presId="urn:microsoft.com/office/officeart/2005/8/layout/pyramid2"/>
    <dgm:cxn modelId="{06FEC4FE-8667-4FE7-A618-DF8C5F4D7158}" type="presParOf" srcId="{C407126C-7469-48BC-80E9-873273511104}" destId="{4248FE6C-B38F-4E64-946B-F4CE80F1E7AC}" srcOrd="0" destOrd="0" presId="urn:microsoft.com/office/officeart/2005/8/layout/pyramid2"/>
    <dgm:cxn modelId="{D2E75527-E847-49C4-B6E2-45E2F815814B}" type="presParOf" srcId="{C407126C-7469-48BC-80E9-873273511104}" destId="{2AC692FE-F2F9-4F2F-BF1E-D4FC0D9ECDEE}" srcOrd="1" destOrd="0" presId="urn:microsoft.com/office/officeart/2005/8/layout/pyramid2"/>
    <dgm:cxn modelId="{861803E7-0E28-4AD9-840B-6E3102959AA3}" type="presParOf" srcId="{2AC692FE-F2F9-4F2F-BF1E-D4FC0D9ECDEE}" destId="{CD5168C8-13C8-4B22-8B65-11FA87039554}" srcOrd="0" destOrd="0" presId="urn:microsoft.com/office/officeart/2005/8/layout/pyramid2"/>
    <dgm:cxn modelId="{8B27AD56-96A6-467F-A165-0F9687B2A8BA}" type="presParOf" srcId="{2AC692FE-F2F9-4F2F-BF1E-D4FC0D9ECDEE}" destId="{500EE790-868C-401E-A1C3-DAEA56D45036}" srcOrd="1" destOrd="0" presId="urn:microsoft.com/office/officeart/2005/8/layout/pyramid2"/>
    <dgm:cxn modelId="{6104ED9F-524E-4D86-9EC5-629A1DC60944}" type="presParOf" srcId="{2AC692FE-F2F9-4F2F-BF1E-D4FC0D9ECDEE}" destId="{E825E2C1-8C8E-4320-B331-6B2BFBF4FB46}" srcOrd="2" destOrd="0" presId="urn:microsoft.com/office/officeart/2005/8/layout/pyramid2"/>
    <dgm:cxn modelId="{B2CD3E80-0B73-45B4-B965-5F69C4CF1A9F}" type="presParOf" srcId="{2AC692FE-F2F9-4F2F-BF1E-D4FC0D9ECDEE}" destId="{E112AEDC-836F-4663-BC51-83F52CAB5FC4}" srcOrd="3" destOrd="0" presId="urn:microsoft.com/office/officeart/2005/8/layout/pyramid2"/>
    <dgm:cxn modelId="{BD2DE7B8-C567-4BB9-A9C3-12216648078D}" type="presParOf" srcId="{2AC692FE-F2F9-4F2F-BF1E-D4FC0D9ECDEE}" destId="{F43AFD1D-C944-4457-82C3-DEC2001E31C1}" srcOrd="4" destOrd="0" presId="urn:microsoft.com/office/officeart/2005/8/layout/pyramid2"/>
    <dgm:cxn modelId="{DB2384AE-42F7-41B1-9DCB-DB3207BE0DB0}" type="presParOf" srcId="{2AC692FE-F2F9-4F2F-BF1E-D4FC0D9ECDEE}" destId="{E494EF5A-21B9-4073-8B97-606B6F0069BD}" srcOrd="5" destOrd="0" presId="urn:microsoft.com/office/officeart/2005/8/layout/pyramid2"/>
    <dgm:cxn modelId="{30D1BF23-DEA5-4242-99C2-EFAC595E4585}" type="presParOf" srcId="{2AC692FE-F2F9-4F2F-BF1E-D4FC0D9ECDEE}" destId="{124BA426-6811-424F-AE59-F33629DA31F1}" srcOrd="6" destOrd="0" presId="urn:microsoft.com/office/officeart/2005/8/layout/pyramid2"/>
    <dgm:cxn modelId="{3AA3528A-152A-4EC0-BB5E-DA55431272C9}" type="presParOf" srcId="{2AC692FE-F2F9-4F2F-BF1E-D4FC0D9ECDEE}" destId="{E4A7F8F8-0C95-4319-9FB9-50599B937388}" srcOrd="7" destOrd="0" presId="urn:microsoft.com/office/officeart/2005/8/layout/pyramid2"/>
    <dgm:cxn modelId="{E7F984B0-C86C-486A-8ECE-75FC9F05A0F8}" type="presParOf" srcId="{2AC692FE-F2F9-4F2F-BF1E-D4FC0D9ECDEE}" destId="{4A3B4FFC-80BF-4D3E-9F41-7932490ACCD0}" srcOrd="8" destOrd="0" presId="urn:microsoft.com/office/officeart/2005/8/layout/pyramid2"/>
    <dgm:cxn modelId="{7796BCB3-1C12-49D1-B8E9-D03A36CDDBA5}" type="presParOf" srcId="{2AC692FE-F2F9-4F2F-BF1E-D4FC0D9ECDEE}" destId="{8D6B0359-66CC-4985-B13B-636CF47260B2}" srcOrd="9" destOrd="0" presId="urn:microsoft.com/office/officeart/2005/8/layout/pyramid2"/>
    <dgm:cxn modelId="{6FA486A8-B47A-4450-BA3D-D0B06E89E516}" type="presParOf" srcId="{2AC692FE-F2F9-4F2F-BF1E-D4FC0D9ECDEE}" destId="{DACA87EC-E128-4CC5-9462-08B3BAD23A77}" srcOrd="10" destOrd="0" presId="urn:microsoft.com/office/officeart/2005/8/layout/pyramid2"/>
    <dgm:cxn modelId="{B34F2D45-83EF-4FAF-9B21-8BDE789D9EAD}" type="presParOf" srcId="{2AC692FE-F2F9-4F2F-BF1E-D4FC0D9ECDEE}" destId="{1B2E03D2-48E8-4669-A082-A0AE7B20AD37}" srcOrd="11" destOrd="0" presId="urn:microsoft.com/office/officeart/2005/8/layout/pyramid2"/>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24AD06A-233D-4B6F-94E7-6FB0630D9F23}"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pt-BR"/>
        </a:p>
      </dgm:t>
    </dgm:pt>
    <dgm:pt modelId="{2291E5FE-F6C6-4455-8714-48BE8F39E125}">
      <dgm:prSet phldrT="[Texto]"/>
      <dgm:spPr>
        <a:solidFill>
          <a:schemeClr val="accent6">
            <a:lumMod val="75000"/>
          </a:schemeClr>
        </a:solidFill>
        <a:ln>
          <a:noFill/>
        </a:ln>
      </dgm:spPr>
      <dgm:t>
        <a:bodyPr/>
        <a:lstStyle/>
        <a:p>
          <a:r>
            <a:rPr lang="pt-BR" dirty="0"/>
            <a:t>Prestação de contas e responsabilidade</a:t>
          </a:r>
        </a:p>
      </dgm:t>
    </dgm:pt>
    <dgm:pt modelId="{4FF4BB45-97DD-4812-8F10-5084AD49C0B2}" type="parTrans" cxnId="{14DDE47E-6FE2-4EC3-A11C-F71B3C56D722}">
      <dgm:prSet/>
      <dgm:spPr/>
      <dgm:t>
        <a:bodyPr/>
        <a:lstStyle/>
        <a:p>
          <a:endParaRPr lang="pt-BR"/>
        </a:p>
      </dgm:t>
    </dgm:pt>
    <dgm:pt modelId="{EA791432-C3D1-458B-B365-60CE89DA748D}" type="sibTrans" cxnId="{14DDE47E-6FE2-4EC3-A11C-F71B3C56D722}">
      <dgm:prSet/>
      <dgm:spPr/>
      <dgm:t>
        <a:bodyPr/>
        <a:lstStyle/>
        <a:p>
          <a:endParaRPr lang="pt-BR"/>
        </a:p>
      </dgm:t>
    </dgm:pt>
    <dgm:pt modelId="{D36695ED-4687-4904-99BF-559399C8C3DE}">
      <dgm:prSet phldrT="[Texto]" custT="1"/>
      <dgm:spPr>
        <a:solidFill>
          <a:schemeClr val="accent6">
            <a:lumMod val="20000"/>
            <a:lumOff val="80000"/>
            <a:alpha val="90000"/>
          </a:schemeClr>
        </a:solidFill>
        <a:ln>
          <a:noFill/>
        </a:ln>
      </dgm:spPr>
      <dgm:t>
        <a:bodyPr/>
        <a:lstStyle/>
        <a:p>
          <a:r>
            <a:rPr lang="pt-BR" sz="3200" i="1" dirty="0" err="1"/>
            <a:t>Accontability</a:t>
          </a:r>
          <a:endParaRPr lang="pt-BR" sz="3200" i="1" dirty="0"/>
        </a:p>
      </dgm:t>
    </dgm:pt>
    <dgm:pt modelId="{2EA17D0B-8F9F-4F6E-84BB-AAEA25E162FD}" type="parTrans" cxnId="{FDEEB82A-D8AC-49BD-8C87-68461A4E0C38}">
      <dgm:prSet/>
      <dgm:spPr/>
      <dgm:t>
        <a:bodyPr/>
        <a:lstStyle/>
        <a:p>
          <a:endParaRPr lang="pt-BR"/>
        </a:p>
      </dgm:t>
    </dgm:pt>
    <dgm:pt modelId="{CAB2CF82-8802-4F6D-B716-6B752E766F54}" type="sibTrans" cxnId="{FDEEB82A-D8AC-49BD-8C87-68461A4E0C38}">
      <dgm:prSet/>
      <dgm:spPr/>
      <dgm:t>
        <a:bodyPr/>
        <a:lstStyle/>
        <a:p>
          <a:endParaRPr lang="pt-BR"/>
        </a:p>
      </dgm:t>
    </dgm:pt>
    <dgm:pt modelId="{1967267A-2256-4027-B4D5-61C8884EC7AD}">
      <dgm:prSet phldrT="[Texto]"/>
      <dgm:spPr>
        <a:solidFill>
          <a:schemeClr val="accent1">
            <a:lumMod val="75000"/>
          </a:schemeClr>
        </a:solidFill>
      </dgm:spPr>
      <dgm:t>
        <a:bodyPr/>
        <a:lstStyle/>
        <a:p>
          <a:r>
            <a:rPr lang="pt-BR" dirty="0"/>
            <a:t>Transparência</a:t>
          </a:r>
        </a:p>
      </dgm:t>
    </dgm:pt>
    <dgm:pt modelId="{7672635E-3A4B-4CA3-8DB9-B38AA093FB00}" type="parTrans" cxnId="{AE2AFE63-91D1-4F3B-98AC-3824E8A02D53}">
      <dgm:prSet/>
      <dgm:spPr/>
      <dgm:t>
        <a:bodyPr/>
        <a:lstStyle/>
        <a:p>
          <a:endParaRPr lang="pt-BR"/>
        </a:p>
      </dgm:t>
    </dgm:pt>
    <dgm:pt modelId="{9D6424AA-8A72-4D5A-9C85-8948B797097C}" type="sibTrans" cxnId="{AE2AFE63-91D1-4F3B-98AC-3824E8A02D53}">
      <dgm:prSet/>
      <dgm:spPr/>
      <dgm:t>
        <a:bodyPr/>
        <a:lstStyle/>
        <a:p>
          <a:endParaRPr lang="pt-BR"/>
        </a:p>
      </dgm:t>
    </dgm:pt>
    <dgm:pt modelId="{428538ED-1DB6-47E2-825C-B687312BA3B9}">
      <dgm:prSet phldrT="[Texto]" custT="1"/>
      <dgm:spPr>
        <a:solidFill>
          <a:schemeClr val="accent1">
            <a:lumMod val="20000"/>
            <a:lumOff val="80000"/>
            <a:alpha val="90000"/>
          </a:schemeClr>
        </a:solidFill>
      </dgm:spPr>
      <dgm:t>
        <a:bodyPr/>
        <a:lstStyle/>
        <a:p>
          <a:r>
            <a:rPr lang="pt-BR" sz="3200" dirty="0"/>
            <a:t>Transparência ativa</a:t>
          </a:r>
        </a:p>
      </dgm:t>
    </dgm:pt>
    <dgm:pt modelId="{3A2F2520-FDDB-409F-BC61-B9DE7DD5E6CF}" type="parTrans" cxnId="{CDA69699-648B-4CA6-AB3C-3F0008EB3064}">
      <dgm:prSet/>
      <dgm:spPr/>
      <dgm:t>
        <a:bodyPr/>
        <a:lstStyle/>
        <a:p>
          <a:endParaRPr lang="pt-BR"/>
        </a:p>
      </dgm:t>
    </dgm:pt>
    <dgm:pt modelId="{ED1E31B6-50B8-44B0-BEE2-9E44B2DC4B87}" type="sibTrans" cxnId="{CDA69699-648B-4CA6-AB3C-3F0008EB3064}">
      <dgm:prSet/>
      <dgm:spPr/>
      <dgm:t>
        <a:bodyPr/>
        <a:lstStyle/>
        <a:p>
          <a:endParaRPr lang="pt-BR"/>
        </a:p>
      </dgm:t>
    </dgm:pt>
    <dgm:pt modelId="{AD237821-1BFE-4594-BA98-552673AB5AC5}">
      <dgm:prSet phldrT="[Texto]" custT="1"/>
      <dgm:spPr>
        <a:solidFill>
          <a:schemeClr val="accent6">
            <a:lumMod val="20000"/>
            <a:lumOff val="80000"/>
            <a:alpha val="90000"/>
          </a:schemeClr>
        </a:solidFill>
        <a:ln>
          <a:noFill/>
        </a:ln>
      </dgm:spPr>
      <dgm:t>
        <a:bodyPr/>
        <a:lstStyle/>
        <a:p>
          <a:r>
            <a:rPr lang="pt-BR" sz="3200" dirty="0"/>
            <a:t>Definir </a:t>
          </a:r>
          <a:r>
            <a:rPr lang="pt-BR" sz="3200" b="1" dirty="0"/>
            <a:t>formalmente</a:t>
          </a:r>
          <a:r>
            <a:rPr lang="pt-BR" sz="3200" dirty="0"/>
            <a:t> as funções, competências e responsabilidades das estruturas e arranjos institucionais</a:t>
          </a:r>
        </a:p>
      </dgm:t>
    </dgm:pt>
    <dgm:pt modelId="{8CAA886C-BD45-4E83-B2FE-5D8378758C81}" type="parTrans" cxnId="{AA45A413-5173-4E5C-AB50-C05FF3203707}">
      <dgm:prSet/>
      <dgm:spPr/>
      <dgm:t>
        <a:bodyPr/>
        <a:lstStyle/>
        <a:p>
          <a:endParaRPr lang="pt-BR"/>
        </a:p>
      </dgm:t>
    </dgm:pt>
    <dgm:pt modelId="{F34002DF-8112-4DC2-B39C-5FDCA66FE918}" type="sibTrans" cxnId="{AA45A413-5173-4E5C-AB50-C05FF3203707}">
      <dgm:prSet/>
      <dgm:spPr/>
      <dgm:t>
        <a:bodyPr/>
        <a:lstStyle/>
        <a:p>
          <a:endParaRPr lang="pt-BR"/>
        </a:p>
      </dgm:t>
    </dgm:pt>
    <dgm:pt modelId="{411FDC5B-0835-48A4-A5C9-2E44DC4B8620}">
      <dgm:prSet phldrT="[Texto]" custT="1"/>
      <dgm:spPr>
        <a:solidFill>
          <a:schemeClr val="accent1">
            <a:lumMod val="20000"/>
            <a:lumOff val="80000"/>
            <a:alpha val="90000"/>
          </a:schemeClr>
        </a:solidFill>
      </dgm:spPr>
      <dgm:t>
        <a:bodyPr/>
        <a:lstStyle/>
        <a:p>
          <a:r>
            <a:rPr lang="pt-BR" sz="3200" dirty="0"/>
            <a:t>Acesso público à informações </a:t>
          </a:r>
        </a:p>
      </dgm:t>
    </dgm:pt>
    <dgm:pt modelId="{75796EA3-9588-4383-BBAA-BE6588266C4C}" type="parTrans" cxnId="{21484912-9592-4DEE-AFB4-AA23D82A3DCD}">
      <dgm:prSet/>
      <dgm:spPr/>
      <dgm:t>
        <a:bodyPr/>
        <a:lstStyle/>
        <a:p>
          <a:endParaRPr lang="pt-BR"/>
        </a:p>
      </dgm:t>
    </dgm:pt>
    <dgm:pt modelId="{E0CCC5C7-F13D-4557-B15F-63E8F9C4D065}" type="sibTrans" cxnId="{21484912-9592-4DEE-AFB4-AA23D82A3DCD}">
      <dgm:prSet/>
      <dgm:spPr/>
      <dgm:t>
        <a:bodyPr/>
        <a:lstStyle/>
        <a:p>
          <a:endParaRPr lang="pt-BR"/>
        </a:p>
      </dgm:t>
    </dgm:pt>
    <dgm:pt modelId="{96092D1F-0945-4ABA-AB5C-AE9020539413}">
      <dgm:prSet phldrT="[Texto]" custT="1"/>
      <dgm:spPr>
        <a:solidFill>
          <a:schemeClr val="accent1">
            <a:lumMod val="20000"/>
            <a:lumOff val="80000"/>
            <a:alpha val="90000"/>
          </a:schemeClr>
        </a:solidFill>
      </dgm:spPr>
      <dgm:t>
        <a:bodyPr/>
        <a:lstStyle/>
        <a:p>
          <a:r>
            <a:rPr lang="pt-BR" sz="3200" dirty="0"/>
            <a:t>Informação completa, objetiva, confiável relevante e acessível</a:t>
          </a:r>
        </a:p>
      </dgm:t>
    </dgm:pt>
    <dgm:pt modelId="{FA02295A-D228-490B-A40E-7238042B9F11}" type="parTrans" cxnId="{8B75C44A-71BA-46D0-AEC7-B684A8032991}">
      <dgm:prSet/>
      <dgm:spPr/>
      <dgm:t>
        <a:bodyPr/>
        <a:lstStyle/>
        <a:p>
          <a:endParaRPr lang="pt-BR"/>
        </a:p>
      </dgm:t>
    </dgm:pt>
    <dgm:pt modelId="{112751BA-1D37-4F31-A125-C610410202BF}" type="sibTrans" cxnId="{8B75C44A-71BA-46D0-AEC7-B684A8032991}">
      <dgm:prSet/>
      <dgm:spPr/>
      <dgm:t>
        <a:bodyPr/>
        <a:lstStyle/>
        <a:p>
          <a:endParaRPr lang="pt-BR"/>
        </a:p>
      </dgm:t>
    </dgm:pt>
    <dgm:pt modelId="{7F606123-9340-448E-AAE5-A66039225108}" type="pres">
      <dgm:prSet presAssocID="{E24AD06A-233D-4B6F-94E7-6FB0630D9F23}" presName="Name0" presStyleCnt="0">
        <dgm:presLayoutVars>
          <dgm:dir/>
          <dgm:animLvl val="lvl"/>
          <dgm:resizeHandles val="exact"/>
        </dgm:presLayoutVars>
      </dgm:prSet>
      <dgm:spPr/>
    </dgm:pt>
    <dgm:pt modelId="{2D91334A-4ADD-4F6A-B181-CBFD6E3032D8}" type="pres">
      <dgm:prSet presAssocID="{2291E5FE-F6C6-4455-8714-48BE8F39E125}" presName="composite" presStyleCnt="0"/>
      <dgm:spPr/>
    </dgm:pt>
    <dgm:pt modelId="{A5E4E917-4658-48A2-ADDC-9E29FEDCE1A7}" type="pres">
      <dgm:prSet presAssocID="{2291E5FE-F6C6-4455-8714-48BE8F39E125}" presName="parTx" presStyleLbl="alignNode1" presStyleIdx="0" presStyleCnt="2">
        <dgm:presLayoutVars>
          <dgm:chMax val="0"/>
          <dgm:chPref val="0"/>
          <dgm:bulletEnabled val="1"/>
        </dgm:presLayoutVars>
      </dgm:prSet>
      <dgm:spPr/>
    </dgm:pt>
    <dgm:pt modelId="{991A6862-A9F3-4496-A1D1-97ECAD3DA598}" type="pres">
      <dgm:prSet presAssocID="{2291E5FE-F6C6-4455-8714-48BE8F39E125}" presName="desTx" presStyleLbl="alignAccFollowNode1" presStyleIdx="0" presStyleCnt="2">
        <dgm:presLayoutVars>
          <dgm:bulletEnabled val="1"/>
        </dgm:presLayoutVars>
      </dgm:prSet>
      <dgm:spPr/>
    </dgm:pt>
    <dgm:pt modelId="{162A164A-3C3C-4B68-ADDF-C94B87A02F36}" type="pres">
      <dgm:prSet presAssocID="{EA791432-C3D1-458B-B365-60CE89DA748D}" presName="space" presStyleCnt="0"/>
      <dgm:spPr/>
    </dgm:pt>
    <dgm:pt modelId="{6AF5C5CA-A226-47B2-A9B9-72B3D8F96EA4}" type="pres">
      <dgm:prSet presAssocID="{1967267A-2256-4027-B4D5-61C8884EC7AD}" presName="composite" presStyleCnt="0"/>
      <dgm:spPr/>
    </dgm:pt>
    <dgm:pt modelId="{2329F65E-A336-4E86-B0EF-F42EAFBAB876}" type="pres">
      <dgm:prSet presAssocID="{1967267A-2256-4027-B4D5-61C8884EC7AD}" presName="parTx" presStyleLbl="alignNode1" presStyleIdx="1" presStyleCnt="2">
        <dgm:presLayoutVars>
          <dgm:chMax val="0"/>
          <dgm:chPref val="0"/>
          <dgm:bulletEnabled val="1"/>
        </dgm:presLayoutVars>
      </dgm:prSet>
      <dgm:spPr/>
    </dgm:pt>
    <dgm:pt modelId="{881BA0C8-3929-44E7-87A9-F10922592911}" type="pres">
      <dgm:prSet presAssocID="{1967267A-2256-4027-B4D5-61C8884EC7AD}" presName="desTx" presStyleLbl="alignAccFollowNode1" presStyleIdx="1" presStyleCnt="2">
        <dgm:presLayoutVars>
          <dgm:bulletEnabled val="1"/>
        </dgm:presLayoutVars>
      </dgm:prSet>
      <dgm:spPr/>
    </dgm:pt>
  </dgm:ptLst>
  <dgm:cxnLst>
    <dgm:cxn modelId="{21484912-9592-4DEE-AFB4-AA23D82A3DCD}" srcId="{1967267A-2256-4027-B4D5-61C8884EC7AD}" destId="{411FDC5B-0835-48A4-A5C9-2E44DC4B8620}" srcOrd="1" destOrd="0" parTransId="{75796EA3-9588-4383-BBAA-BE6588266C4C}" sibTransId="{E0CCC5C7-F13D-4557-B15F-63E8F9C4D065}"/>
    <dgm:cxn modelId="{AA45A413-5173-4E5C-AB50-C05FF3203707}" srcId="{2291E5FE-F6C6-4455-8714-48BE8F39E125}" destId="{AD237821-1BFE-4594-BA98-552673AB5AC5}" srcOrd="1" destOrd="0" parTransId="{8CAA886C-BD45-4E83-B2FE-5D8378758C81}" sibTransId="{F34002DF-8112-4DC2-B39C-5FDCA66FE918}"/>
    <dgm:cxn modelId="{5744671D-E941-4A57-8DC7-96888304CE8B}" type="presOf" srcId="{411FDC5B-0835-48A4-A5C9-2E44DC4B8620}" destId="{881BA0C8-3929-44E7-87A9-F10922592911}" srcOrd="0" destOrd="1" presId="urn:microsoft.com/office/officeart/2005/8/layout/hList1"/>
    <dgm:cxn modelId="{FDEEB82A-D8AC-49BD-8C87-68461A4E0C38}" srcId="{2291E5FE-F6C6-4455-8714-48BE8F39E125}" destId="{D36695ED-4687-4904-99BF-559399C8C3DE}" srcOrd="0" destOrd="0" parTransId="{2EA17D0B-8F9F-4F6E-84BB-AAEA25E162FD}" sibTransId="{CAB2CF82-8802-4F6D-B716-6B752E766F54}"/>
    <dgm:cxn modelId="{C8DE3436-AD30-4039-B41C-1EC72E9A1F1D}" type="presOf" srcId="{2291E5FE-F6C6-4455-8714-48BE8F39E125}" destId="{A5E4E917-4658-48A2-ADDC-9E29FEDCE1A7}" srcOrd="0" destOrd="0" presId="urn:microsoft.com/office/officeart/2005/8/layout/hList1"/>
    <dgm:cxn modelId="{AE2AFE63-91D1-4F3B-98AC-3824E8A02D53}" srcId="{E24AD06A-233D-4B6F-94E7-6FB0630D9F23}" destId="{1967267A-2256-4027-B4D5-61C8884EC7AD}" srcOrd="1" destOrd="0" parTransId="{7672635E-3A4B-4CA3-8DB9-B38AA093FB00}" sibTransId="{9D6424AA-8A72-4D5A-9C85-8948B797097C}"/>
    <dgm:cxn modelId="{8B75C44A-71BA-46D0-AEC7-B684A8032991}" srcId="{1967267A-2256-4027-B4D5-61C8884EC7AD}" destId="{96092D1F-0945-4ABA-AB5C-AE9020539413}" srcOrd="2" destOrd="0" parTransId="{FA02295A-D228-490B-A40E-7238042B9F11}" sibTransId="{112751BA-1D37-4F31-A125-C610410202BF}"/>
    <dgm:cxn modelId="{2051CE4D-BBD3-4ABE-B05D-73312D4B39BB}" type="presOf" srcId="{D36695ED-4687-4904-99BF-559399C8C3DE}" destId="{991A6862-A9F3-4496-A1D1-97ECAD3DA598}" srcOrd="0" destOrd="0" presId="urn:microsoft.com/office/officeart/2005/8/layout/hList1"/>
    <dgm:cxn modelId="{14DDE47E-6FE2-4EC3-A11C-F71B3C56D722}" srcId="{E24AD06A-233D-4B6F-94E7-6FB0630D9F23}" destId="{2291E5FE-F6C6-4455-8714-48BE8F39E125}" srcOrd="0" destOrd="0" parTransId="{4FF4BB45-97DD-4812-8F10-5084AD49C0B2}" sibTransId="{EA791432-C3D1-458B-B365-60CE89DA748D}"/>
    <dgm:cxn modelId="{CDA69699-648B-4CA6-AB3C-3F0008EB3064}" srcId="{1967267A-2256-4027-B4D5-61C8884EC7AD}" destId="{428538ED-1DB6-47E2-825C-B687312BA3B9}" srcOrd="0" destOrd="0" parTransId="{3A2F2520-FDDB-409F-BC61-B9DE7DD5E6CF}" sibTransId="{ED1E31B6-50B8-44B0-BEE2-9E44B2DC4B87}"/>
    <dgm:cxn modelId="{73B24BC0-F049-4AFF-8DE7-DA280FF021FF}" type="presOf" srcId="{96092D1F-0945-4ABA-AB5C-AE9020539413}" destId="{881BA0C8-3929-44E7-87A9-F10922592911}" srcOrd="0" destOrd="2" presId="urn:microsoft.com/office/officeart/2005/8/layout/hList1"/>
    <dgm:cxn modelId="{A71888C8-F2A4-4CE8-B4B6-2A65CA1501D4}" type="presOf" srcId="{1967267A-2256-4027-B4D5-61C8884EC7AD}" destId="{2329F65E-A336-4E86-B0EF-F42EAFBAB876}" srcOrd="0" destOrd="0" presId="urn:microsoft.com/office/officeart/2005/8/layout/hList1"/>
    <dgm:cxn modelId="{21221ECA-FD4B-4554-A210-0B57FDF1F211}" type="presOf" srcId="{E24AD06A-233D-4B6F-94E7-6FB0630D9F23}" destId="{7F606123-9340-448E-AAE5-A66039225108}" srcOrd="0" destOrd="0" presId="urn:microsoft.com/office/officeart/2005/8/layout/hList1"/>
    <dgm:cxn modelId="{AF59F6D6-B731-4B87-BD6F-E169C60F39FE}" type="presOf" srcId="{AD237821-1BFE-4594-BA98-552673AB5AC5}" destId="{991A6862-A9F3-4496-A1D1-97ECAD3DA598}" srcOrd="0" destOrd="1" presId="urn:microsoft.com/office/officeart/2005/8/layout/hList1"/>
    <dgm:cxn modelId="{10C9B5DD-7961-4FF5-B552-34BED3825B13}" type="presOf" srcId="{428538ED-1DB6-47E2-825C-B687312BA3B9}" destId="{881BA0C8-3929-44E7-87A9-F10922592911}" srcOrd="0" destOrd="0" presId="urn:microsoft.com/office/officeart/2005/8/layout/hList1"/>
    <dgm:cxn modelId="{135D9145-9EF6-4477-8E8E-5E16F8277AA5}" type="presParOf" srcId="{7F606123-9340-448E-AAE5-A66039225108}" destId="{2D91334A-4ADD-4F6A-B181-CBFD6E3032D8}" srcOrd="0" destOrd="0" presId="urn:microsoft.com/office/officeart/2005/8/layout/hList1"/>
    <dgm:cxn modelId="{9B498E04-9A41-4882-86AC-FEC1AD2C3A71}" type="presParOf" srcId="{2D91334A-4ADD-4F6A-B181-CBFD6E3032D8}" destId="{A5E4E917-4658-48A2-ADDC-9E29FEDCE1A7}" srcOrd="0" destOrd="0" presId="urn:microsoft.com/office/officeart/2005/8/layout/hList1"/>
    <dgm:cxn modelId="{B31FB0CC-59C0-4859-9B64-FA8F58E6268A}" type="presParOf" srcId="{2D91334A-4ADD-4F6A-B181-CBFD6E3032D8}" destId="{991A6862-A9F3-4496-A1D1-97ECAD3DA598}" srcOrd="1" destOrd="0" presId="urn:microsoft.com/office/officeart/2005/8/layout/hList1"/>
    <dgm:cxn modelId="{0403C507-27A6-44BC-8D46-13B9B6379A28}" type="presParOf" srcId="{7F606123-9340-448E-AAE5-A66039225108}" destId="{162A164A-3C3C-4B68-ADDF-C94B87A02F36}" srcOrd="1" destOrd="0" presId="urn:microsoft.com/office/officeart/2005/8/layout/hList1"/>
    <dgm:cxn modelId="{B9398A01-476B-4CD3-98A7-1FBAC4613ADC}" type="presParOf" srcId="{7F606123-9340-448E-AAE5-A66039225108}" destId="{6AF5C5CA-A226-47B2-A9B9-72B3D8F96EA4}" srcOrd="2" destOrd="0" presId="urn:microsoft.com/office/officeart/2005/8/layout/hList1"/>
    <dgm:cxn modelId="{FD3A8A19-D551-44F8-B2FE-475B7A6122D5}" type="presParOf" srcId="{6AF5C5CA-A226-47B2-A9B9-72B3D8F96EA4}" destId="{2329F65E-A336-4E86-B0EF-F42EAFBAB876}" srcOrd="0" destOrd="0" presId="urn:microsoft.com/office/officeart/2005/8/layout/hList1"/>
    <dgm:cxn modelId="{DDE6DD4B-E759-45C4-9A23-07B48DCA24DC}" type="presParOf" srcId="{6AF5C5CA-A226-47B2-A9B9-72B3D8F96EA4}" destId="{881BA0C8-3929-44E7-87A9-F10922592911}"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5209F3C-D549-4687-90F3-93ECD92305E1}" type="doc">
      <dgm:prSet loTypeId="urn:microsoft.com/office/officeart/2005/8/layout/hList9" loCatId="list" qsTypeId="urn:microsoft.com/office/officeart/2005/8/quickstyle/simple1" qsCatId="simple" csTypeId="urn:microsoft.com/office/officeart/2005/8/colors/colorful1" csCatId="colorful" phldr="1"/>
      <dgm:spPr/>
      <dgm:t>
        <a:bodyPr/>
        <a:lstStyle/>
        <a:p>
          <a:endParaRPr lang="pt-BR"/>
        </a:p>
      </dgm:t>
    </dgm:pt>
    <dgm:pt modelId="{56F85AF7-19D6-477E-9689-36134B97091E}">
      <dgm:prSet phldrT="[Texto]" custT="1"/>
      <dgm:spPr>
        <a:solidFill>
          <a:schemeClr val="accent5"/>
        </a:solidFill>
      </dgm:spPr>
      <dgm:t>
        <a:bodyPr/>
        <a:lstStyle/>
        <a:p>
          <a:r>
            <a:rPr lang="pt-BR" sz="1800" b="1"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Governança</a:t>
          </a:r>
          <a:endParaRPr lang="pt-BR" sz="1800" dirty="0">
            <a:solidFill>
              <a:schemeClr val="bg1"/>
            </a:solidFill>
          </a:endParaRPr>
        </a:p>
      </dgm:t>
    </dgm:pt>
    <dgm:pt modelId="{9A07E64F-1AE0-43AE-81F4-A1270C17ED89}" type="parTrans" cxnId="{0DC05113-D205-4547-845F-39D76F0F297C}">
      <dgm:prSet/>
      <dgm:spPr/>
      <dgm:t>
        <a:bodyPr/>
        <a:lstStyle/>
        <a:p>
          <a:endParaRPr lang="pt-BR" sz="2800"/>
        </a:p>
      </dgm:t>
    </dgm:pt>
    <dgm:pt modelId="{15A5F5E4-0E62-4D60-BE27-0283378B1C86}" type="sibTrans" cxnId="{0DC05113-D205-4547-845F-39D76F0F297C}">
      <dgm:prSet/>
      <dgm:spPr/>
      <dgm:t>
        <a:bodyPr/>
        <a:lstStyle/>
        <a:p>
          <a:endParaRPr lang="pt-BR" sz="2800"/>
        </a:p>
      </dgm:t>
    </dgm:pt>
    <dgm:pt modelId="{FC8D8E21-82EC-49ED-81EE-233C9FAD880B}">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Ações planejadas são executadas para atingir seus objetivos e resultados de forma transparente?</a:t>
          </a:r>
          <a:endParaRPr lang="pt-BR" sz="1800" dirty="0"/>
        </a:p>
      </dgm:t>
    </dgm:pt>
    <dgm:pt modelId="{13A3EDDA-CE9B-4D3D-B63E-698935BB9853}" type="parTrans" cxnId="{0C771C88-89DC-4A93-B05C-AED4877030A8}">
      <dgm:prSet/>
      <dgm:spPr/>
      <dgm:t>
        <a:bodyPr/>
        <a:lstStyle/>
        <a:p>
          <a:endParaRPr lang="pt-BR" sz="2800"/>
        </a:p>
      </dgm:t>
    </dgm:pt>
    <dgm:pt modelId="{A5191271-A697-40D9-94AE-5A76B0A034CF}" type="sibTrans" cxnId="{0C771C88-89DC-4A93-B05C-AED4877030A8}">
      <dgm:prSet/>
      <dgm:spPr/>
      <dgm:t>
        <a:bodyPr/>
        <a:lstStyle/>
        <a:p>
          <a:endParaRPr lang="pt-BR" sz="2800"/>
        </a:p>
      </dgm:t>
    </dgm:pt>
    <dgm:pt modelId="{D9864D06-3317-4FC5-8644-EE1CF04445D4}">
      <dgm:prSet phldrT="[Texto]" custT="1"/>
      <dgm:spPr>
        <a:solidFill>
          <a:schemeClr val="accent6"/>
        </a:solidFill>
      </dgm:spPr>
      <dgm:t>
        <a:bodyPr/>
        <a:lstStyle/>
        <a:p>
          <a:r>
            <a:rPr lang="pt-BR" sz="1800" b="1"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Resultados</a:t>
          </a:r>
          <a:endParaRPr lang="pt-BR" sz="1800" dirty="0">
            <a:solidFill>
              <a:schemeClr val="bg1"/>
            </a:solidFill>
          </a:endParaRPr>
        </a:p>
      </dgm:t>
    </dgm:pt>
    <dgm:pt modelId="{43097CE0-41D8-41E1-A7D7-662A01A64C4F}" type="parTrans" cxnId="{16DE61BB-B0AF-4C43-82C5-3C873A5C0D33}">
      <dgm:prSet/>
      <dgm:spPr/>
      <dgm:t>
        <a:bodyPr/>
        <a:lstStyle/>
        <a:p>
          <a:endParaRPr lang="pt-BR" sz="2800"/>
        </a:p>
      </dgm:t>
    </dgm:pt>
    <dgm:pt modelId="{E87D6406-8A75-4D87-8BE5-F955486A6EC0}" type="sibTrans" cxnId="{16DE61BB-B0AF-4C43-82C5-3C873A5C0D33}">
      <dgm:prSet/>
      <dgm:spPr/>
      <dgm:t>
        <a:bodyPr/>
        <a:lstStyle/>
        <a:p>
          <a:endParaRPr lang="pt-BR" sz="2800"/>
        </a:p>
      </dgm:t>
    </dgm:pt>
    <dgm:pt modelId="{98AA97AA-ABFF-4EE5-B56D-264BAD1EE040}">
      <dgm:prSet phldrT="[Texto]" custT="1"/>
      <dgm:spPr/>
      <dgm:t>
        <a:bodyPr/>
        <a:lstStyle/>
        <a:p>
          <a:r>
            <a:rPr lang="pt-BR" sz="1800" dirty="0">
              <a:latin typeface="Calibri" panose="020F0502020204030204" pitchFamily="34" charset="0"/>
              <a:ea typeface="Calibri" panose="020F0502020204030204" pitchFamily="34" charset="0"/>
              <a:cs typeface="Calibri" panose="020F0502020204030204" pitchFamily="34" charset="0"/>
            </a:rPr>
            <a:t>Há </a:t>
          </a:r>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variáveis de resultados e de impactos definidas, mensuráveis e disponíveis?</a:t>
          </a:r>
          <a:endParaRPr lang="pt-BR" sz="1800" dirty="0"/>
        </a:p>
      </dgm:t>
    </dgm:pt>
    <dgm:pt modelId="{3BCBC456-2BB4-42D7-9DE7-242057ECA67B}" type="parTrans" cxnId="{2F26136D-0C6F-45EE-BF6C-19F34BB2AA69}">
      <dgm:prSet/>
      <dgm:spPr/>
      <dgm:t>
        <a:bodyPr/>
        <a:lstStyle/>
        <a:p>
          <a:endParaRPr lang="pt-BR" sz="2800"/>
        </a:p>
      </dgm:t>
    </dgm:pt>
    <dgm:pt modelId="{B641E8FF-9BF6-478F-A508-4A51CA9E76B8}" type="sibTrans" cxnId="{2F26136D-0C6F-45EE-BF6C-19F34BB2AA69}">
      <dgm:prSet/>
      <dgm:spPr/>
      <dgm:t>
        <a:bodyPr/>
        <a:lstStyle/>
        <a:p>
          <a:endParaRPr lang="pt-BR" sz="2800"/>
        </a:p>
      </dgm:t>
    </dgm:pt>
    <dgm:pt modelId="{A54EA586-BDB2-48A6-A3F9-0BC25E6EA1EF}">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Busca demarcar, na vida dos beneficiários, a diferença atribuída à política de forma inequívoca</a:t>
          </a:r>
          <a:r>
            <a:rPr lang="pt-BR" sz="1800" dirty="0">
              <a:latin typeface="Calibri" panose="020F0502020204030204" pitchFamily="34" charset="0"/>
              <a:ea typeface="Calibri" panose="020F0502020204030204" pitchFamily="34" charset="0"/>
              <a:cs typeface="Calibri" panose="020F0502020204030204" pitchFamily="34" charset="0"/>
            </a:rPr>
            <a:t>.</a:t>
          </a:r>
          <a:endParaRPr lang="pt-BR" sz="1800" dirty="0"/>
        </a:p>
      </dgm:t>
    </dgm:pt>
    <dgm:pt modelId="{02B2A0B3-DC70-47CF-BA1C-276CAFE40604}" type="sibTrans" cxnId="{F979420C-ECEC-4338-8B7A-25A330888177}">
      <dgm:prSet/>
      <dgm:spPr/>
      <dgm:t>
        <a:bodyPr/>
        <a:lstStyle/>
        <a:p>
          <a:endParaRPr lang="pt-BR" sz="2800"/>
        </a:p>
      </dgm:t>
    </dgm:pt>
    <dgm:pt modelId="{F136CE60-493C-47A0-9A1F-F882980D810B}" type="parTrans" cxnId="{F979420C-ECEC-4338-8B7A-25A330888177}">
      <dgm:prSet/>
      <dgm:spPr/>
      <dgm:t>
        <a:bodyPr/>
        <a:lstStyle/>
        <a:p>
          <a:endParaRPr lang="pt-BR" sz="2800"/>
        </a:p>
      </dgm:t>
    </dgm:pt>
    <dgm:pt modelId="{C37FCEE0-5751-4428-8E85-C77024D4C17D}">
      <dgm:prSet phldrT="[Texto]" custT="1"/>
      <dgm:spPr>
        <a:solidFill>
          <a:schemeClr val="accent2"/>
        </a:solidFill>
      </dgm:spPr>
      <dgm:t>
        <a:bodyPr/>
        <a:lstStyle/>
        <a:p>
          <a:r>
            <a:rPr lang="pt-BR" sz="1800" b="1" kern="1200">
              <a:solidFill>
                <a:schemeClr val="bg1"/>
              </a:solidFill>
              <a:latin typeface="Calibri" panose="020F0502020204030204" pitchFamily="34" charset="0"/>
              <a:ea typeface="Calibri" panose="020F0502020204030204" pitchFamily="34" charset="0"/>
              <a:cs typeface="Calibri" panose="020F0502020204030204" pitchFamily="34" charset="0"/>
            </a:rPr>
            <a:t>Avaliação de Impacto</a:t>
          </a:r>
          <a:endPar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dgm:t>
    </dgm:pt>
    <dgm:pt modelId="{A21B3B26-2111-47C7-A7BF-52544C36155E}" type="sibTrans" cxnId="{4EF288A6-634A-4FDA-AAD8-67FE581D7919}">
      <dgm:prSet/>
      <dgm:spPr/>
      <dgm:t>
        <a:bodyPr/>
        <a:lstStyle/>
        <a:p>
          <a:endParaRPr lang="pt-BR" sz="2800"/>
        </a:p>
      </dgm:t>
    </dgm:pt>
    <dgm:pt modelId="{BAC3AEE5-C7A1-4714-BF67-9317012633E4}" type="parTrans" cxnId="{4EF288A6-634A-4FDA-AAD8-67FE581D7919}">
      <dgm:prSet/>
      <dgm:spPr/>
      <dgm:t>
        <a:bodyPr/>
        <a:lstStyle/>
        <a:p>
          <a:endParaRPr lang="pt-BR" sz="2800"/>
        </a:p>
      </dgm:t>
    </dgm:pt>
    <dgm:pt modelId="{8A640238-CDF7-4A94-801E-612C78BFFAB5}">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 Busca maior efetividade e maior economicidade das políticas</a:t>
          </a:r>
          <a:r>
            <a:rPr lang="pt-BR" sz="1800" dirty="0">
              <a:latin typeface="Calibri" panose="020F0502020204030204" pitchFamily="34" charset="0"/>
              <a:ea typeface="Calibri" panose="020F0502020204030204" pitchFamily="34" charset="0"/>
              <a:cs typeface="Calibri" panose="020F0502020204030204" pitchFamily="34" charset="0"/>
            </a:rPr>
            <a:t>. </a:t>
          </a:r>
          <a:endParaRPr lang="pt-BR" sz="1800" dirty="0"/>
        </a:p>
      </dgm:t>
    </dgm:pt>
    <dgm:pt modelId="{83F5C4C6-F05C-4342-8A92-2A6DBCD10600}" type="parTrans" cxnId="{1227986C-8E5B-48F7-B289-4B9F448DD595}">
      <dgm:prSet/>
      <dgm:spPr/>
      <dgm:t>
        <a:bodyPr/>
        <a:lstStyle/>
        <a:p>
          <a:endParaRPr lang="pt-BR"/>
        </a:p>
      </dgm:t>
    </dgm:pt>
    <dgm:pt modelId="{74BC08B4-0AD4-43E4-B03A-3F801F406373}" type="sibTrans" cxnId="{1227986C-8E5B-48F7-B289-4B9F448DD595}">
      <dgm:prSet/>
      <dgm:spPr/>
      <dgm:t>
        <a:bodyPr/>
        <a:lstStyle/>
        <a:p>
          <a:endParaRPr lang="pt-BR"/>
        </a:p>
      </dgm:t>
    </dgm:pt>
    <dgm:pt modelId="{B55F69E3-72B3-4B2D-9C6F-06803C145E42}">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Há evidências de que os resultados estão sendo alcançados ao longo do tempo?</a:t>
          </a:r>
          <a:endParaRPr lang="pt-BR" sz="1800" dirty="0"/>
        </a:p>
      </dgm:t>
    </dgm:pt>
    <dgm:pt modelId="{A692186A-86AB-4ED1-B822-A5A518227687}" type="parTrans" cxnId="{D6BC58EE-7537-4DBA-84A6-8CFAB8BD4D25}">
      <dgm:prSet/>
      <dgm:spPr/>
      <dgm:t>
        <a:bodyPr/>
        <a:lstStyle/>
        <a:p>
          <a:endParaRPr lang="pt-BR"/>
        </a:p>
      </dgm:t>
    </dgm:pt>
    <dgm:pt modelId="{F0C8A958-A1AB-46C6-AF45-20B3AFBECB3B}" type="sibTrans" cxnId="{D6BC58EE-7537-4DBA-84A6-8CFAB8BD4D25}">
      <dgm:prSet/>
      <dgm:spPr/>
      <dgm:t>
        <a:bodyPr/>
        <a:lstStyle/>
        <a:p>
          <a:endParaRPr lang="pt-BR"/>
        </a:p>
      </dgm:t>
    </dgm:pt>
    <dgm:pt modelId="{A49BD998-E5F3-4551-8CCB-6C249B9E9833}">
      <dgm:prSet phldrT="[Texto]" custT="1"/>
      <dgm:spPr/>
      <dgm:t>
        <a:bodyPr/>
        <a:lstStyle/>
        <a:p>
          <a:r>
            <a:rPr lang="pt-BR" sz="1800" dirty="0">
              <a:solidFill>
                <a:srgbClr val="000000"/>
              </a:solidFill>
              <a:latin typeface="Calibri" panose="020F0502020204030204" pitchFamily="34" charset="0"/>
              <a:ea typeface="Calibri" panose="020F0502020204030204" pitchFamily="34" charset="0"/>
              <a:cs typeface="Calibri" panose="020F0502020204030204" pitchFamily="34" charset="0"/>
            </a:rPr>
            <a:t>Estão alinhados aos planejamentos estabelecidos pela política e pelos instrumentos de planejamento macro e setoriais?</a:t>
          </a:r>
          <a:endParaRPr lang="pt-BR" sz="1800" dirty="0"/>
        </a:p>
      </dgm:t>
    </dgm:pt>
    <dgm:pt modelId="{D362FD21-FB86-4171-B875-B7DAFB1EEB81}" type="parTrans" cxnId="{D8B74C3E-9BAE-478A-839F-E9736C414D84}">
      <dgm:prSet/>
      <dgm:spPr/>
      <dgm:t>
        <a:bodyPr/>
        <a:lstStyle/>
        <a:p>
          <a:endParaRPr lang="pt-BR"/>
        </a:p>
      </dgm:t>
    </dgm:pt>
    <dgm:pt modelId="{992C8625-B058-442A-8019-6C63E187324D}" type="sibTrans" cxnId="{D8B74C3E-9BAE-478A-839F-E9736C414D84}">
      <dgm:prSet/>
      <dgm:spPr/>
      <dgm:t>
        <a:bodyPr/>
        <a:lstStyle/>
        <a:p>
          <a:endParaRPr lang="pt-BR"/>
        </a:p>
      </dgm:t>
    </dgm:pt>
    <dgm:pt modelId="{BD02771B-9926-48C7-BB37-0A0EBF61F474}" type="pres">
      <dgm:prSet presAssocID="{25209F3C-D549-4687-90F3-93ECD92305E1}" presName="list" presStyleCnt="0">
        <dgm:presLayoutVars>
          <dgm:dir/>
          <dgm:animLvl val="lvl"/>
        </dgm:presLayoutVars>
      </dgm:prSet>
      <dgm:spPr/>
    </dgm:pt>
    <dgm:pt modelId="{402E573A-9777-4F91-919B-522BBE6FBE7B}" type="pres">
      <dgm:prSet presAssocID="{56F85AF7-19D6-477E-9689-36134B97091E}" presName="posSpace" presStyleCnt="0"/>
      <dgm:spPr/>
    </dgm:pt>
    <dgm:pt modelId="{0EC47685-D53D-4BE9-8431-53C1DD3DF696}" type="pres">
      <dgm:prSet presAssocID="{56F85AF7-19D6-477E-9689-36134B97091E}" presName="vertFlow" presStyleCnt="0"/>
      <dgm:spPr/>
    </dgm:pt>
    <dgm:pt modelId="{990F3EA8-DDB1-435A-B0C7-590511DA3A2F}" type="pres">
      <dgm:prSet presAssocID="{56F85AF7-19D6-477E-9689-36134B97091E}" presName="topSpace" presStyleCnt="0"/>
      <dgm:spPr/>
    </dgm:pt>
    <dgm:pt modelId="{DF566861-42FF-4224-B4BF-0CECD0CDC17B}" type="pres">
      <dgm:prSet presAssocID="{56F85AF7-19D6-477E-9689-36134B97091E}" presName="firstComp" presStyleCnt="0"/>
      <dgm:spPr/>
    </dgm:pt>
    <dgm:pt modelId="{F6C1E3C0-FEA4-4E73-A59E-EF1515DFFBC7}" type="pres">
      <dgm:prSet presAssocID="{56F85AF7-19D6-477E-9689-36134B97091E}" presName="firstChild" presStyleLbl="bgAccFollowNode1" presStyleIdx="0" presStyleCnt="6" custScaleY="118257" custLinFactNeighborX="4493"/>
      <dgm:spPr/>
    </dgm:pt>
    <dgm:pt modelId="{7807C0E7-9C26-41B5-94F4-19EE7F4D541B}" type="pres">
      <dgm:prSet presAssocID="{56F85AF7-19D6-477E-9689-36134B97091E}" presName="firstChildTx" presStyleLbl="bgAccFollowNode1" presStyleIdx="0" presStyleCnt="6">
        <dgm:presLayoutVars>
          <dgm:bulletEnabled val="1"/>
        </dgm:presLayoutVars>
      </dgm:prSet>
      <dgm:spPr/>
    </dgm:pt>
    <dgm:pt modelId="{618FBE2F-4A22-4D97-8524-DBAF3BD9194C}" type="pres">
      <dgm:prSet presAssocID="{8A640238-CDF7-4A94-801E-612C78BFFAB5}" presName="comp" presStyleCnt="0"/>
      <dgm:spPr/>
    </dgm:pt>
    <dgm:pt modelId="{99B2B366-BC02-4125-81C8-EE646BD5D052}" type="pres">
      <dgm:prSet presAssocID="{8A640238-CDF7-4A94-801E-612C78BFFAB5}" presName="child" presStyleLbl="bgAccFollowNode1" presStyleIdx="1" presStyleCnt="6" custLinFactNeighborX="4942" custLinFactNeighborY="667"/>
      <dgm:spPr/>
    </dgm:pt>
    <dgm:pt modelId="{3FCB269B-E851-42F1-8A78-C14B173E973D}" type="pres">
      <dgm:prSet presAssocID="{8A640238-CDF7-4A94-801E-612C78BFFAB5}" presName="childTx" presStyleLbl="bgAccFollowNode1" presStyleIdx="1" presStyleCnt="6">
        <dgm:presLayoutVars>
          <dgm:bulletEnabled val="1"/>
        </dgm:presLayoutVars>
      </dgm:prSet>
      <dgm:spPr/>
    </dgm:pt>
    <dgm:pt modelId="{826DEE35-04FF-4BF9-81D4-A124C5D506AE}" type="pres">
      <dgm:prSet presAssocID="{56F85AF7-19D6-477E-9689-36134B97091E}" presName="negSpace" presStyleCnt="0"/>
      <dgm:spPr/>
    </dgm:pt>
    <dgm:pt modelId="{F356B3FF-3E60-499B-B19F-957C2254A267}" type="pres">
      <dgm:prSet presAssocID="{56F85AF7-19D6-477E-9689-36134B97091E}" presName="circle" presStyleLbl="node1" presStyleIdx="0" presStyleCnt="3" custScaleX="105216" custScaleY="104103"/>
      <dgm:spPr/>
    </dgm:pt>
    <dgm:pt modelId="{05E1FAEC-DCAD-4DFD-9EE6-7177187B657D}" type="pres">
      <dgm:prSet presAssocID="{15A5F5E4-0E62-4D60-BE27-0283378B1C86}" presName="transSpace" presStyleCnt="0"/>
      <dgm:spPr/>
    </dgm:pt>
    <dgm:pt modelId="{B60FC935-B974-41EE-94AB-6B4B750FC27F}" type="pres">
      <dgm:prSet presAssocID="{D9864D06-3317-4FC5-8644-EE1CF04445D4}" presName="posSpace" presStyleCnt="0"/>
      <dgm:spPr/>
    </dgm:pt>
    <dgm:pt modelId="{9B7A8643-9089-47C6-867E-6CDCFDC95CD7}" type="pres">
      <dgm:prSet presAssocID="{D9864D06-3317-4FC5-8644-EE1CF04445D4}" presName="vertFlow" presStyleCnt="0"/>
      <dgm:spPr/>
    </dgm:pt>
    <dgm:pt modelId="{D93BBE4D-E0AF-43E6-A697-4F94A7DBCBD3}" type="pres">
      <dgm:prSet presAssocID="{D9864D06-3317-4FC5-8644-EE1CF04445D4}" presName="topSpace" presStyleCnt="0"/>
      <dgm:spPr/>
    </dgm:pt>
    <dgm:pt modelId="{0E25F90F-91E9-4AEC-AE3E-0E1AB5152F75}" type="pres">
      <dgm:prSet presAssocID="{D9864D06-3317-4FC5-8644-EE1CF04445D4}" presName="firstComp" presStyleCnt="0"/>
      <dgm:spPr/>
    </dgm:pt>
    <dgm:pt modelId="{7B97F9EB-91EA-48E1-8D0B-A2855712F07E}" type="pres">
      <dgm:prSet presAssocID="{D9864D06-3317-4FC5-8644-EE1CF04445D4}" presName="firstChild" presStyleLbl="bgAccFollowNode1" presStyleIdx="2" presStyleCnt="6"/>
      <dgm:spPr/>
    </dgm:pt>
    <dgm:pt modelId="{39E011A0-4C8F-4907-859E-3643D9A37EFE}" type="pres">
      <dgm:prSet presAssocID="{D9864D06-3317-4FC5-8644-EE1CF04445D4}" presName="firstChildTx" presStyleLbl="bgAccFollowNode1" presStyleIdx="2" presStyleCnt="6">
        <dgm:presLayoutVars>
          <dgm:bulletEnabled val="1"/>
        </dgm:presLayoutVars>
      </dgm:prSet>
      <dgm:spPr/>
    </dgm:pt>
    <dgm:pt modelId="{2CF8F8D1-8EB0-49E0-A2B8-285654B2761B}" type="pres">
      <dgm:prSet presAssocID="{B55F69E3-72B3-4B2D-9C6F-06803C145E42}" presName="comp" presStyleCnt="0"/>
      <dgm:spPr/>
    </dgm:pt>
    <dgm:pt modelId="{FC4E208E-1802-4F37-A525-46BFE251D49D}" type="pres">
      <dgm:prSet presAssocID="{B55F69E3-72B3-4B2D-9C6F-06803C145E42}" presName="child" presStyleLbl="bgAccFollowNode1" presStyleIdx="3" presStyleCnt="6"/>
      <dgm:spPr/>
    </dgm:pt>
    <dgm:pt modelId="{2F01C85A-1470-434D-A51F-B35FD12B801A}" type="pres">
      <dgm:prSet presAssocID="{B55F69E3-72B3-4B2D-9C6F-06803C145E42}" presName="childTx" presStyleLbl="bgAccFollowNode1" presStyleIdx="3" presStyleCnt="6">
        <dgm:presLayoutVars>
          <dgm:bulletEnabled val="1"/>
        </dgm:presLayoutVars>
      </dgm:prSet>
      <dgm:spPr/>
    </dgm:pt>
    <dgm:pt modelId="{ABAB0797-9330-4355-BF6F-06EB832D64BE}" type="pres">
      <dgm:prSet presAssocID="{A49BD998-E5F3-4551-8CCB-6C249B9E9833}" presName="comp" presStyleCnt="0"/>
      <dgm:spPr/>
    </dgm:pt>
    <dgm:pt modelId="{2CB59D95-5F58-4BAB-8C4C-55F6F06E8AD4}" type="pres">
      <dgm:prSet presAssocID="{A49BD998-E5F3-4551-8CCB-6C249B9E9833}" presName="child" presStyleLbl="bgAccFollowNode1" presStyleIdx="4" presStyleCnt="6" custScaleY="111635"/>
      <dgm:spPr/>
    </dgm:pt>
    <dgm:pt modelId="{5C7B0424-5B2B-45AC-84ED-53953C5F3139}" type="pres">
      <dgm:prSet presAssocID="{A49BD998-E5F3-4551-8CCB-6C249B9E9833}" presName="childTx" presStyleLbl="bgAccFollowNode1" presStyleIdx="4" presStyleCnt="6">
        <dgm:presLayoutVars>
          <dgm:bulletEnabled val="1"/>
        </dgm:presLayoutVars>
      </dgm:prSet>
      <dgm:spPr/>
    </dgm:pt>
    <dgm:pt modelId="{077A3421-B3C2-4E0B-AEB2-06320A8EE60B}" type="pres">
      <dgm:prSet presAssocID="{D9864D06-3317-4FC5-8644-EE1CF04445D4}" presName="negSpace" presStyleCnt="0"/>
      <dgm:spPr/>
    </dgm:pt>
    <dgm:pt modelId="{F363DC99-C794-49CD-A9E5-FAFD717A8333}" type="pres">
      <dgm:prSet presAssocID="{D9864D06-3317-4FC5-8644-EE1CF04445D4}" presName="circle" presStyleLbl="node1" presStyleIdx="1" presStyleCnt="3"/>
      <dgm:spPr/>
    </dgm:pt>
    <dgm:pt modelId="{4E3799FE-AA6B-4AE6-9D8A-7DC456C59AD4}" type="pres">
      <dgm:prSet presAssocID="{E87D6406-8A75-4D87-8BE5-F955486A6EC0}" presName="transSpace" presStyleCnt="0"/>
      <dgm:spPr/>
    </dgm:pt>
    <dgm:pt modelId="{E872C85F-F22E-4380-9A30-4C96C27153B6}" type="pres">
      <dgm:prSet presAssocID="{C37FCEE0-5751-4428-8E85-C77024D4C17D}" presName="posSpace" presStyleCnt="0"/>
      <dgm:spPr/>
    </dgm:pt>
    <dgm:pt modelId="{6458A77A-D671-4BF1-8E98-CE18E21520DF}" type="pres">
      <dgm:prSet presAssocID="{C37FCEE0-5751-4428-8E85-C77024D4C17D}" presName="vertFlow" presStyleCnt="0"/>
      <dgm:spPr/>
    </dgm:pt>
    <dgm:pt modelId="{59BD514E-2170-4613-9862-5184E9929F84}" type="pres">
      <dgm:prSet presAssocID="{C37FCEE0-5751-4428-8E85-C77024D4C17D}" presName="topSpace" presStyleCnt="0"/>
      <dgm:spPr/>
    </dgm:pt>
    <dgm:pt modelId="{1501905D-9100-4D09-85E5-5BDE2CC03C2E}" type="pres">
      <dgm:prSet presAssocID="{C37FCEE0-5751-4428-8E85-C77024D4C17D}" presName="firstComp" presStyleCnt="0"/>
      <dgm:spPr/>
    </dgm:pt>
    <dgm:pt modelId="{F5A818AD-4B07-45CD-BA72-29CD6E13214A}" type="pres">
      <dgm:prSet presAssocID="{C37FCEE0-5751-4428-8E85-C77024D4C17D}" presName="firstChild" presStyleLbl="bgAccFollowNode1" presStyleIdx="5" presStyleCnt="6"/>
      <dgm:spPr/>
    </dgm:pt>
    <dgm:pt modelId="{FA040D9E-AAEA-42AB-8593-8C5C07B592F0}" type="pres">
      <dgm:prSet presAssocID="{C37FCEE0-5751-4428-8E85-C77024D4C17D}" presName="firstChildTx" presStyleLbl="bgAccFollowNode1" presStyleIdx="5" presStyleCnt="6">
        <dgm:presLayoutVars>
          <dgm:bulletEnabled val="1"/>
        </dgm:presLayoutVars>
      </dgm:prSet>
      <dgm:spPr/>
    </dgm:pt>
    <dgm:pt modelId="{2879CF79-BD9D-4C55-A606-267F0C7D115E}" type="pres">
      <dgm:prSet presAssocID="{C37FCEE0-5751-4428-8E85-C77024D4C17D}" presName="negSpace" presStyleCnt="0"/>
      <dgm:spPr/>
    </dgm:pt>
    <dgm:pt modelId="{2360F986-397E-4C7B-99BB-A931B25F6018}" type="pres">
      <dgm:prSet presAssocID="{C37FCEE0-5751-4428-8E85-C77024D4C17D}" presName="circle" presStyleLbl="node1" presStyleIdx="2" presStyleCnt="3"/>
      <dgm:spPr/>
    </dgm:pt>
  </dgm:ptLst>
  <dgm:cxnLst>
    <dgm:cxn modelId="{F979420C-ECEC-4338-8B7A-25A330888177}" srcId="{C37FCEE0-5751-4428-8E85-C77024D4C17D}" destId="{A54EA586-BDB2-48A6-A3F9-0BC25E6EA1EF}" srcOrd="0" destOrd="0" parTransId="{F136CE60-493C-47A0-9A1F-F882980D810B}" sibTransId="{02B2A0B3-DC70-47CF-BA1C-276CAFE40604}"/>
    <dgm:cxn modelId="{ACE1D112-DB5F-442E-823D-B50B62DC8DBB}" type="presOf" srcId="{C37FCEE0-5751-4428-8E85-C77024D4C17D}" destId="{2360F986-397E-4C7B-99BB-A931B25F6018}" srcOrd="0" destOrd="0" presId="urn:microsoft.com/office/officeart/2005/8/layout/hList9"/>
    <dgm:cxn modelId="{0DC05113-D205-4547-845F-39D76F0F297C}" srcId="{25209F3C-D549-4687-90F3-93ECD92305E1}" destId="{56F85AF7-19D6-477E-9689-36134B97091E}" srcOrd="0" destOrd="0" parTransId="{9A07E64F-1AE0-43AE-81F4-A1270C17ED89}" sibTransId="{15A5F5E4-0E62-4D60-BE27-0283378B1C86}"/>
    <dgm:cxn modelId="{BEB75725-B4E6-47AC-9432-D36DFEF92EE3}" type="presOf" srcId="{A54EA586-BDB2-48A6-A3F9-0BC25E6EA1EF}" destId="{FA040D9E-AAEA-42AB-8593-8C5C07B592F0}" srcOrd="1" destOrd="0" presId="urn:microsoft.com/office/officeart/2005/8/layout/hList9"/>
    <dgm:cxn modelId="{56906627-DED3-49A8-81DB-0750B5A04613}" type="presOf" srcId="{98AA97AA-ABFF-4EE5-B56D-264BAD1EE040}" destId="{39E011A0-4C8F-4907-859E-3643D9A37EFE}" srcOrd="1" destOrd="0" presId="urn:microsoft.com/office/officeart/2005/8/layout/hList9"/>
    <dgm:cxn modelId="{E5E8B932-3D6A-4DD9-B24B-BB9453B75647}" type="presOf" srcId="{56F85AF7-19D6-477E-9689-36134B97091E}" destId="{F356B3FF-3E60-499B-B19F-957C2254A267}" srcOrd="0" destOrd="0" presId="urn:microsoft.com/office/officeart/2005/8/layout/hList9"/>
    <dgm:cxn modelId="{D8B74C3E-9BAE-478A-839F-E9736C414D84}" srcId="{D9864D06-3317-4FC5-8644-EE1CF04445D4}" destId="{A49BD998-E5F3-4551-8CCB-6C249B9E9833}" srcOrd="2" destOrd="0" parTransId="{D362FD21-FB86-4171-B875-B7DAFB1EEB81}" sibTransId="{992C8625-B058-442A-8019-6C63E187324D}"/>
    <dgm:cxn modelId="{1227986C-8E5B-48F7-B289-4B9F448DD595}" srcId="{56F85AF7-19D6-477E-9689-36134B97091E}" destId="{8A640238-CDF7-4A94-801E-612C78BFFAB5}" srcOrd="1" destOrd="0" parTransId="{83F5C4C6-F05C-4342-8A92-2A6DBCD10600}" sibTransId="{74BC08B4-0AD4-43E4-B03A-3F801F406373}"/>
    <dgm:cxn modelId="{2F26136D-0C6F-45EE-BF6C-19F34BB2AA69}" srcId="{D9864D06-3317-4FC5-8644-EE1CF04445D4}" destId="{98AA97AA-ABFF-4EE5-B56D-264BAD1EE040}" srcOrd="0" destOrd="0" parTransId="{3BCBC456-2BB4-42D7-9DE7-242057ECA67B}" sibTransId="{B641E8FF-9BF6-478F-A508-4A51CA9E76B8}"/>
    <dgm:cxn modelId="{1C4F4B6D-66EC-4B8F-B1B7-3E5F56BFBFA6}" type="presOf" srcId="{FC8D8E21-82EC-49ED-81EE-233C9FAD880B}" destId="{7807C0E7-9C26-41B5-94F4-19EE7F4D541B}" srcOrd="1" destOrd="0" presId="urn:microsoft.com/office/officeart/2005/8/layout/hList9"/>
    <dgm:cxn modelId="{A8FBFE51-3AE4-4737-A7BF-BD9BBEC8DD29}" type="presOf" srcId="{D9864D06-3317-4FC5-8644-EE1CF04445D4}" destId="{F363DC99-C794-49CD-A9E5-FAFD717A8333}" srcOrd="0" destOrd="0" presId="urn:microsoft.com/office/officeart/2005/8/layout/hList9"/>
    <dgm:cxn modelId="{51513673-C303-4D22-A94A-41FC829EC0D0}" type="presOf" srcId="{A49BD998-E5F3-4551-8CCB-6C249B9E9833}" destId="{5C7B0424-5B2B-45AC-84ED-53953C5F3139}" srcOrd="1" destOrd="0" presId="urn:microsoft.com/office/officeart/2005/8/layout/hList9"/>
    <dgm:cxn modelId="{5D7E4F7E-E2E7-4CA5-8771-80C070964DE9}" type="presOf" srcId="{FC8D8E21-82EC-49ED-81EE-233C9FAD880B}" destId="{F6C1E3C0-FEA4-4E73-A59E-EF1515DFFBC7}" srcOrd="0" destOrd="0" presId="urn:microsoft.com/office/officeart/2005/8/layout/hList9"/>
    <dgm:cxn modelId="{0C771C88-89DC-4A93-B05C-AED4877030A8}" srcId="{56F85AF7-19D6-477E-9689-36134B97091E}" destId="{FC8D8E21-82EC-49ED-81EE-233C9FAD880B}" srcOrd="0" destOrd="0" parTransId="{13A3EDDA-CE9B-4D3D-B63E-698935BB9853}" sibTransId="{A5191271-A697-40D9-94AE-5A76B0A034CF}"/>
    <dgm:cxn modelId="{30177495-AE23-4782-A6B8-CDF49D751DFE}" type="presOf" srcId="{8A640238-CDF7-4A94-801E-612C78BFFAB5}" destId="{99B2B366-BC02-4125-81C8-EE646BD5D052}" srcOrd="0" destOrd="0" presId="urn:microsoft.com/office/officeart/2005/8/layout/hList9"/>
    <dgm:cxn modelId="{4EF288A6-634A-4FDA-AAD8-67FE581D7919}" srcId="{25209F3C-D549-4687-90F3-93ECD92305E1}" destId="{C37FCEE0-5751-4428-8E85-C77024D4C17D}" srcOrd="2" destOrd="0" parTransId="{BAC3AEE5-C7A1-4714-BF67-9317012633E4}" sibTransId="{A21B3B26-2111-47C7-A7BF-52544C36155E}"/>
    <dgm:cxn modelId="{FC982DA7-0309-4F98-BAB3-85E5B56BD8AA}" type="presOf" srcId="{A54EA586-BDB2-48A6-A3F9-0BC25E6EA1EF}" destId="{F5A818AD-4B07-45CD-BA72-29CD6E13214A}" srcOrd="0" destOrd="0" presId="urn:microsoft.com/office/officeart/2005/8/layout/hList9"/>
    <dgm:cxn modelId="{285005B3-615B-4826-8D6B-288190C8AF48}" type="presOf" srcId="{B55F69E3-72B3-4B2D-9C6F-06803C145E42}" destId="{2F01C85A-1470-434D-A51F-B35FD12B801A}" srcOrd="1" destOrd="0" presId="urn:microsoft.com/office/officeart/2005/8/layout/hList9"/>
    <dgm:cxn modelId="{16DE61BB-B0AF-4C43-82C5-3C873A5C0D33}" srcId="{25209F3C-D549-4687-90F3-93ECD92305E1}" destId="{D9864D06-3317-4FC5-8644-EE1CF04445D4}" srcOrd="1" destOrd="0" parTransId="{43097CE0-41D8-41E1-A7D7-662A01A64C4F}" sibTransId="{E87D6406-8A75-4D87-8BE5-F955486A6EC0}"/>
    <dgm:cxn modelId="{3CCF95BE-EC65-4B29-9059-D4B32EE75D67}" type="presOf" srcId="{B55F69E3-72B3-4B2D-9C6F-06803C145E42}" destId="{FC4E208E-1802-4F37-A525-46BFE251D49D}" srcOrd="0" destOrd="0" presId="urn:microsoft.com/office/officeart/2005/8/layout/hList9"/>
    <dgm:cxn modelId="{DF5D78D2-2AD7-4667-BC7F-1B1035C3F443}" type="presOf" srcId="{25209F3C-D549-4687-90F3-93ECD92305E1}" destId="{BD02771B-9926-48C7-BB37-0A0EBF61F474}" srcOrd="0" destOrd="0" presId="urn:microsoft.com/office/officeart/2005/8/layout/hList9"/>
    <dgm:cxn modelId="{71C9D1DF-7D02-40AD-A426-2FC7CF66D98F}" type="presOf" srcId="{98AA97AA-ABFF-4EE5-B56D-264BAD1EE040}" destId="{7B97F9EB-91EA-48E1-8D0B-A2855712F07E}" srcOrd="0" destOrd="0" presId="urn:microsoft.com/office/officeart/2005/8/layout/hList9"/>
    <dgm:cxn modelId="{D6BC58EE-7537-4DBA-84A6-8CFAB8BD4D25}" srcId="{D9864D06-3317-4FC5-8644-EE1CF04445D4}" destId="{B55F69E3-72B3-4B2D-9C6F-06803C145E42}" srcOrd="1" destOrd="0" parTransId="{A692186A-86AB-4ED1-B822-A5A518227687}" sibTransId="{F0C8A958-A1AB-46C6-AF45-20B3AFBECB3B}"/>
    <dgm:cxn modelId="{BE74C8EE-4E39-46FC-A838-D1B4447D8117}" type="presOf" srcId="{8A640238-CDF7-4A94-801E-612C78BFFAB5}" destId="{3FCB269B-E851-42F1-8A78-C14B173E973D}" srcOrd="1" destOrd="0" presId="urn:microsoft.com/office/officeart/2005/8/layout/hList9"/>
    <dgm:cxn modelId="{183FCBF4-6F2A-4D70-9C20-031C1F053383}" type="presOf" srcId="{A49BD998-E5F3-4551-8CCB-6C249B9E9833}" destId="{2CB59D95-5F58-4BAB-8C4C-55F6F06E8AD4}" srcOrd="0" destOrd="0" presId="urn:microsoft.com/office/officeart/2005/8/layout/hList9"/>
    <dgm:cxn modelId="{7535CDAF-BBCF-4742-9338-E4ACD832B410}" type="presParOf" srcId="{BD02771B-9926-48C7-BB37-0A0EBF61F474}" destId="{402E573A-9777-4F91-919B-522BBE6FBE7B}" srcOrd="0" destOrd="0" presId="urn:microsoft.com/office/officeart/2005/8/layout/hList9"/>
    <dgm:cxn modelId="{B1AEE9CD-9A7D-47A4-906A-9FC674209F62}" type="presParOf" srcId="{BD02771B-9926-48C7-BB37-0A0EBF61F474}" destId="{0EC47685-D53D-4BE9-8431-53C1DD3DF696}" srcOrd="1" destOrd="0" presId="urn:microsoft.com/office/officeart/2005/8/layout/hList9"/>
    <dgm:cxn modelId="{93213F52-0654-4C88-B549-649B2A267AFE}" type="presParOf" srcId="{0EC47685-D53D-4BE9-8431-53C1DD3DF696}" destId="{990F3EA8-DDB1-435A-B0C7-590511DA3A2F}" srcOrd="0" destOrd="0" presId="urn:microsoft.com/office/officeart/2005/8/layout/hList9"/>
    <dgm:cxn modelId="{3FF010E0-03D0-4338-BB5D-EBA89AA8E0A3}" type="presParOf" srcId="{0EC47685-D53D-4BE9-8431-53C1DD3DF696}" destId="{DF566861-42FF-4224-B4BF-0CECD0CDC17B}" srcOrd="1" destOrd="0" presId="urn:microsoft.com/office/officeart/2005/8/layout/hList9"/>
    <dgm:cxn modelId="{18FFD741-C942-481F-B77C-6E5BF665C425}" type="presParOf" srcId="{DF566861-42FF-4224-B4BF-0CECD0CDC17B}" destId="{F6C1E3C0-FEA4-4E73-A59E-EF1515DFFBC7}" srcOrd="0" destOrd="0" presId="urn:microsoft.com/office/officeart/2005/8/layout/hList9"/>
    <dgm:cxn modelId="{E8329375-3084-4856-B929-DDEA33010CB6}" type="presParOf" srcId="{DF566861-42FF-4224-B4BF-0CECD0CDC17B}" destId="{7807C0E7-9C26-41B5-94F4-19EE7F4D541B}" srcOrd="1" destOrd="0" presId="urn:microsoft.com/office/officeart/2005/8/layout/hList9"/>
    <dgm:cxn modelId="{9BBD3BE5-56CC-4948-9D33-CACB68F33EFB}" type="presParOf" srcId="{0EC47685-D53D-4BE9-8431-53C1DD3DF696}" destId="{618FBE2F-4A22-4D97-8524-DBAF3BD9194C}" srcOrd="2" destOrd="0" presId="urn:microsoft.com/office/officeart/2005/8/layout/hList9"/>
    <dgm:cxn modelId="{B91A5020-B124-4639-A19C-6ADE1122F883}" type="presParOf" srcId="{618FBE2F-4A22-4D97-8524-DBAF3BD9194C}" destId="{99B2B366-BC02-4125-81C8-EE646BD5D052}" srcOrd="0" destOrd="0" presId="urn:microsoft.com/office/officeart/2005/8/layout/hList9"/>
    <dgm:cxn modelId="{7BBB8652-4688-4A3C-B4A2-C79BFF8F3A6F}" type="presParOf" srcId="{618FBE2F-4A22-4D97-8524-DBAF3BD9194C}" destId="{3FCB269B-E851-42F1-8A78-C14B173E973D}" srcOrd="1" destOrd="0" presId="urn:microsoft.com/office/officeart/2005/8/layout/hList9"/>
    <dgm:cxn modelId="{F90C1C74-A179-4F79-85B2-B0621A371076}" type="presParOf" srcId="{BD02771B-9926-48C7-BB37-0A0EBF61F474}" destId="{826DEE35-04FF-4BF9-81D4-A124C5D506AE}" srcOrd="2" destOrd="0" presId="urn:microsoft.com/office/officeart/2005/8/layout/hList9"/>
    <dgm:cxn modelId="{511F3D49-E146-4D49-9047-FD1DCD7C6A5C}" type="presParOf" srcId="{BD02771B-9926-48C7-BB37-0A0EBF61F474}" destId="{F356B3FF-3E60-499B-B19F-957C2254A267}" srcOrd="3" destOrd="0" presId="urn:microsoft.com/office/officeart/2005/8/layout/hList9"/>
    <dgm:cxn modelId="{B80F4A7C-5699-488D-AF49-C5A8A2D1917A}" type="presParOf" srcId="{BD02771B-9926-48C7-BB37-0A0EBF61F474}" destId="{05E1FAEC-DCAD-4DFD-9EE6-7177187B657D}" srcOrd="4" destOrd="0" presId="urn:microsoft.com/office/officeart/2005/8/layout/hList9"/>
    <dgm:cxn modelId="{E90D42B4-212D-4B12-8273-28516AF6E43B}" type="presParOf" srcId="{BD02771B-9926-48C7-BB37-0A0EBF61F474}" destId="{B60FC935-B974-41EE-94AB-6B4B750FC27F}" srcOrd="5" destOrd="0" presId="urn:microsoft.com/office/officeart/2005/8/layout/hList9"/>
    <dgm:cxn modelId="{4D6502CB-3735-4F69-8E4A-DDBF9A9C433D}" type="presParOf" srcId="{BD02771B-9926-48C7-BB37-0A0EBF61F474}" destId="{9B7A8643-9089-47C6-867E-6CDCFDC95CD7}" srcOrd="6" destOrd="0" presId="urn:microsoft.com/office/officeart/2005/8/layout/hList9"/>
    <dgm:cxn modelId="{14447894-2151-4B85-9188-41777D71C5B2}" type="presParOf" srcId="{9B7A8643-9089-47C6-867E-6CDCFDC95CD7}" destId="{D93BBE4D-E0AF-43E6-A697-4F94A7DBCBD3}" srcOrd="0" destOrd="0" presId="urn:microsoft.com/office/officeart/2005/8/layout/hList9"/>
    <dgm:cxn modelId="{B92B2716-F8DD-4989-B790-8374C399BF89}" type="presParOf" srcId="{9B7A8643-9089-47C6-867E-6CDCFDC95CD7}" destId="{0E25F90F-91E9-4AEC-AE3E-0E1AB5152F75}" srcOrd="1" destOrd="0" presId="urn:microsoft.com/office/officeart/2005/8/layout/hList9"/>
    <dgm:cxn modelId="{DBC94891-2E96-4BA3-8750-233BAFC3BDE1}" type="presParOf" srcId="{0E25F90F-91E9-4AEC-AE3E-0E1AB5152F75}" destId="{7B97F9EB-91EA-48E1-8D0B-A2855712F07E}" srcOrd="0" destOrd="0" presId="urn:microsoft.com/office/officeart/2005/8/layout/hList9"/>
    <dgm:cxn modelId="{D46C3BFE-F20C-4CC1-BE92-9F20770E63A7}" type="presParOf" srcId="{0E25F90F-91E9-4AEC-AE3E-0E1AB5152F75}" destId="{39E011A0-4C8F-4907-859E-3643D9A37EFE}" srcOrd="1" destOrd="0" presId="urn:microsoft.com/office/officeart/2005/8/layout/hList9"/>
    <dgm:cxn modelId="{4D3E42CA-627C-4539-AF7C-E62250057E08}" type="presParOf" srcId="{9B7A8643-9089-47C6-867E-6CDCFDC95CD7}" destId="{2CF8F8D1-8EB0-49E0-A2B8-285654B2761B}" srcOrd="2" destOrd="0" presId="urn:microsoft.com/office/officeart/2005/8/layout/hList9"/>
    <dgm:cxn modelId="{DC99B1E2-3A52-4FE4-A8BB-71849C028E5C}" type="presParOf" srcId="{2CF8F8D1-8EB0-49E0-A2B8-285654B2761B}" destId="{FC4E208E-1802-4F37-A525-46BFE251D49D}" srcOrd="0" destOrd="0" presId="urn:microsoft.com/office/officeart/2005/8/layout/hList9"/>
    <dgm:cxn modelId="{B3C7C1EF-B5AD-466A-B9C1-19F7AB3ACF91}" type="presParOf" srcId="{2CF8F8D1-8EB0-49E0-A2B8-285654B2761B}" destId="{2F01C85A-1470-434D-A51F-B35FD12B801A}" srcOrd="1" destOrd="0" presId="urn:microsoft.com/office/officeart/2005/8/layout/hList9"/>
    <dgm:cxn modelId="{7D438414-755F-495B-930E-5674D791BDA9}" type="presParOf" srcId="{9B7A8643-9089-47C6-867E-6CDCFDC95CD7}" destId="{ABAB0797-9330-4355-BF6F-06EB832D64BE}" srcOrd="3" destOrd="0" presId="urn:microsoft.com/office/officeart/2005/8/layout/hList9"/>
    <dgm:cxn modelId="{9127FAE9-2C76-4EEC-AA41-467DF0CB9C52}" type="presParOf" srcId="{ABAB0797-9330-4355-BF6F-06EB832D64BE}" destId="{2CB59D95-5F58-4BAB-8C4C-55F6F06E8AD4}" srcOrd="0" destOrd="0" presId="urn:microsoft.com/office/officeart/2005/8/layout/hList9"/>
    <dgm:cxn modelId="{84357DB2-D433-4CAE-B0D4-69411F56A2AD}" type="presParOf" srcId="{ABAB0797-9330-4355-BF6F-06EB832D64BE}" destId="{5C7B0424-5B2B-45AC-84ED-53953C5F3139}" srcOrd="1" destOrd="0" presId="urn:microsoft.com/office/officeart/2005/8/layout/hList9"/>
    <dgm:cxn modelId="{DF46F0AD-074D-45CC-8834-7448F2C81A58}" type="presParOf" srcId="{BD02771B-9926-48C7-BB37-0A0EBF61F474}" destId="{077A3421-B3C2-4E0B-AEB2-06320A8EE60B}" srcOrd="7" destOrd="0" presId="urn:microsoft.com/office/officeart/2005/8/layout/hList9"/>
    <dgm:cxn modelId="{0EA9D4B7-2598-45C9-9405-CD62CA8A3CA3}" type="presParOf" srcId="{BD02771B-9926-48C7-BB37-0A0EBF61F474}" destId="{F363DC99-C794-49CD-A9E5-FAFD717A8333}" srcOrd="8" destOrd="0" presId="urn:microsoft.com/office/officeart/2005/8/layout/hList9"/>
    <dgm:cxn modelId="{53157DCF-8833-42D9-BD93-BF5849409083}" type="presParOf" srcId="{BD02771B-9926-48C7-BB37-0A0EBF61F474}" destId="{4E3799FE-AA6B-4AE6-9D8A-7DC456C59AD4}" srcOrd="9" destOrd="0" presId="urn:microsoft.com/office/officeart/2005/8/layout/hList9"/>
    <dgm:cxn modelId="{F7BD2B91-B136-408B-B492-63E17EBF5E8D}" type="presParOf" srcId="{BD02771B-9926-48C7-BB37-0A0EBF61F474}" destId="{E872C85F-F22E-4380-9A30-4C96C27153B6}" srcOrd="10" destOrd="0" presId="urn:microsoft.com/office/officeart/2005/8/layout/hList9"/>
    <dgm:cxn modelId="{75D2DE5C-ADD2-40FE-BA9F-165138CAC95E}" type="presParOf" srcId="{BD02771B-9926-48C7-BB37-0A0EBF61F474}" destId="{6458A77A-D671-4BF1-8E98-CE18E21520DF}" srcOrd="11" destOrd="0" presId="urn:microsoft.com/office/officeart/2005/8/layout/hList9"/>
    <dgm:cxn modelId="{92ABFF9E-5FED-4E3D-98C1-196F688A172A}" type="presParOf" srcId="{6458A77A-D671-4BF1-8E98-CE18E21520DF}" destId="{59BD514E-2170-4613-9862-5184E9929F84}" srcOrd="0" destOrd="0" presId="urn:microsoft.com/office/officeart/2005/8/layout/hList9"/>
    <dgm:cxn modelId="{8CE8BF15-267A-44B6-A54A-6C12E62C3BB2}" type="presParOf" srcId="{6458A77A-D671-4BF1-8E98-CE18E21520DF}" destId="{1501905D-9100-4D09-85E5-5BDE2CC03C2E}" srcOrd="1" destOrd="0" presId="urn:microsoft.com/office/officeart/2005/8/layout/hList9"/>
    <dgm:cxn modelId="{B3FCBE73-0AF2-4E1F-A788-BC4517BAF107}" type="presParOf" srcId="{1501905D-9100-4D09-85E5-5BDE2CC03C2E}" destId="{F5A818AD-4B07-45CD-BA72-29CD6E13214A}" srcOrd="0" destOrd="0" presId="urn:microsoft.com/office/officeart/2005/8/layout/hList9"/>
    <dgm:cxn modelId="{6D74BAD4-30E2-47BC-BC84-F185411EFC75}" type="presParOf" srcId="{1501905D-9100-4D09-85E5-5BDE2CC03C2E}" destId="{FA040D9E-AAEA-42AB-8593-8C5C07B592F0}" srcOrd="1" destOrd="0" presId="urn:microsoft.com/office/officeart/2005/8/layout/hList9"/>
    <dgm:cxn modelId="{DD332798-3316-4CA6-86A9-EB9DE4B56335}" type="presParOf" srcId="{BD02771B-9926-48C7-BB37-0A0EBF61F474}" destId="{2879CF79-BD9D-4C55-A606-267F0C7D115E}" srcOrd="12" destOrd="0" presId="urn:microsoft.com/office/officeart/2005/8/layout/hList9"/>
    <dgm:cxn modelId="{D2EE63A5-E850-4FE4-83A4-EB983AD0B217}" type="presParOf" srcId="{BD02771B-9926-48C7-BB37-0A0EBF61F474}" destId="{2360F986-397E-4C7B-99BB-A931B25F6018}" srcOrd="13" destOrd="0" presId="urn:microsoft.com/office/officeart/2005/8/layout/hList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40D20BD-E74A-4B29-B09A-4D1357D75BD4}" type="doc">
      <dgm:prSet loTypeId="urn:microsoft.com/office/officeart/2005/8/layout/gear1" loCatId="cycle" qsTypeId="urn:microsoft.com/office/officeart/2005/8/quickstyle/simple1" qsCatId="simple" csTypeId="urn:microsoft.com/office/officeart/2005/8/colors/accent1_2" csCatId="accent1" phldr="1"/>
      <dgm:spPr/>
    </dgm:pt>
    <dgm:pt modelId="{393588EB-3F85-4885-B6C1-9BDEB3E1F9AF}">
      <dgm:prSet phldrT="[Texto]" custT="1"/>
      <dgm:spPr/>
      <dgm:t>
        <a:bodyPr/>
        <a:lstStyle/>
        <a:p>
          <a:r>
            <a:rPr lang="pt-BR" sz="1600" b="1" kern="1200" cap="all" dirty="0">
              <a:solidFill>
                <a:schemeClr val="bg1"/>
              </a:solidFill>
              <a:latin typeface="Century Gothic" pitchFamily="34" charset="0"/>
              <a:ea typeface="+mn-ea"/>
              <a:cs typeface="Arial" panose="020B0604020202020204" pitchFamily="34" charset="0"/>
            </a:rPr>
            <a:t>Decisões baseadas em evidências</a:t>
          </a:r>
        </a:p>
      </dgm:t>
    </dgm:pt>
    <dgm:pt modelId="{27628B26-9354-4DCC-B7A1-CE964B78AD95}" type="parTrans" cxnId="{DCB05D50-2484-4FA0-83F7-9237E26B0246}">
      <dgm:prSet/>
      <dgm:spPr/>
      <dgm:t>
        <a:bodyPr/>
        <a:lstStyle/>
        <a:p>
          <a:endParaRPr lang="pt-BR"/>
        </a:p>
      </dgm:t>
    </dgm:pt>
    <dgm:pt modelId="{950B773D-F4A0-47D6-AC2B-66F47A0F7C1C}" type="sibTrans" cxnId="{DCB05D50-2484-4FA0-83F7-9237E26B0246}">
      <dgm:prSet/>
      <dgm:spPr/>
      <dgm:t>
        <a:bodyPr/>
        <a:lstStyle/>
        <a:p>
          <a:endParaRPr lang="pt-BR"/>
        </a:p>
      </dgm:t>
    </dgm:pt>
    <dgm:pt modelId="{368D4A8D-EAC1-4612-B788-6109A32B517F}">
      <dgm:prSet phldrT="[Texto]" custT="1"/>
      <dgm:spPr/>
      <dgm:t>
        <a:bodyPr/>
        <a:lstStyle/>
        <a:p>
          <a:r>
            <a:rPr lang="pt-BR" sz="1400" b="1" baseline="0" dirty="0"/>
            <a:t>Avaliação de Políticas Públicas</a:t>
          </a:r>
        </a:p>
      </dgm:t>
    </dgm:pt>
    <dgm:pt modelId="{F40E8E19-67B4-421E-A6D1-9CC61AEDB2C2}" type="parTrans" cxnId="{4B992144-800C-4276-87D2-E4108BB9B81F}">
      <dgm:prSet/>
      <dgm:spPr/>
      <dgm:t>
        <a:bodyPr/>
        <a:lstStyle/>
        <a:p>
          <a:endParaRPr lang="pt-BR"/>
        </a:p>
      </dgm:t>
    </dgm:pt>
    <dgm:pt modelId="{675534C8-D2DC-43BE-91E2-5F4249C5B00A}" type="sibTrans" cxnId="{4B992144-800C-4276-87D2-E4108BB9B81F}">
      <dgm:prSet/>
      <dgm:spPr/>
      <dgm:t>
        <a:bodyPr/>
        <a:lstStyle/>
        <a:p>
          <a:endParaRPr lang="pt-BR"/>
        </a:p>
      </dgm:t>
    </dgm:pt>
    <dgm:pt modelId="{7B7C0CC6-40AB-40F3-878C-B6EB013A299E}">
      <dgm:prSet phldrT="[Texto]" custT="1"/>
      <dgm:spPr/>
      <dgm:t>
        <a:bodyPr/>
        <a:lstStyle/>
        <a:p>
          <a:r>
            <a:rPr lang="pt-BR" sz="1400" b="1" dirty="0"/>
            <a:t>Análise de Impacto Regulatório</a:t>
          </a:r>
        </a:p>
      </dgm:t>
    </dgm:pt>
    <dgm:pt modelId="{2E8E1936-B4D7-43AC-B471-B546ACF1E1BF}" type="parTrans" cxnId="{36340140-3454-4748-8705-DD49BA18AC8F}">
      <dgm:prSet/>
      <dgm:spPr/>
      <dgm:t>
        <a:bodyPr/>
        <a:lstStyle/>
        <a:p>
          <a:endParaRPr lang="pt-BR"/>
        </a:p>
      </dgm:t>
    </dgm:pt>
    <dgm:pt modelId="{D279E834-98FE-41A3-B8E6-EB7645045C04}" type="sibTrans" cxnId="{36340140-3454-4748-8705-DD49BA18AC8F}">
      <dgm:prSet/>
      <dgm:spPr/>
      <dgm:t>
        <a:bodyPr/>
        <a:lstStyle/>
        <a:p>
          <a:endParaRPr lang="pt-BR"/>
        </a:p>
      </dgm:t>
    </dgm:pt>
    <dgm:pt modelId="{832A87EB-EACD-414D-B0B5-87DE8BD07FFF}" type="pres">
      <dgm:prSet presAssocID="{E40D20BD-E74A-4B29-B09A-4D1357D75BD4}" presName="composite" presStyleCnt="0">
        <dgm:presLayoutVars>
          <dgm:chMax val="3"/>
          <dgm:animLvl val="lvl"/>
          <dgm:resizeHandles val="exact"/>
        </dgm:presLayoutVars>
      </dgm:prSet>
      <dgm:spPr/>
    </dgm:pt>
    <dgm:pt modelId="{99503569-0F45-42E4-BE76-21FDA97135A9}" type="pres">
      <dgm:prSet presAssocID="{393588EB-3F85-4885-B6C1-9BDEB3E1F9AF}" presName="gear1" presStyleLbl="node1" presStyleIdx="0" presStyleCnt="3" custScaleX="99329" custScaleY="84779" custLinFactNeighborX="897" custLinFactNeighborY="677">
        <dgm:presLayoutVars>
          <dgm:chMax val="1"/>
          <dgm:bulletEnabled val="1"/>
        </dgm:presLayoutVars>
      </dgm:prSet>
      <dgm:spPr/>
    </dgm:pt>
    <dgm:pt modelId="{56A28AAD-DAAB-4F53-B4B6-0498555EB08E}" type="pres">
      <dgm:prSet presAssocID="{393588EB-3F85-4885-B6C1-9BDEB3E1F9AF}" presName="gear1srcNode" presStyleLbl="node1" presStyleIdx="0" presStyleCnt="3"/>
      <dgm:spPr/>
    </dgm:pt>
    <dgm:pt modelId="{FA7F31FC-0AE5-45D5-A07B-5B1C7AFE57ED}" type="pres">
      <dgm:prSet presAssocID="{393588EB-3F85-4885-B6C1-9BDEB3E1F9AF}" presName="gear1dstNode" presStyleLbl="node1" presStyleIdx="0" presStyleCnt="3"/>
      <dgm:spPr/>
    </dgm:pt>
    <dgm:pt modelId="{9AE37E49-B9D7-4B1E-A93B-2CE0F5B78621}" type="pres">
      <dgm:prSet presAssocID="{368D4A8D-EAC1-4612-B788-6109A32B517F}" presName="gear2" presStyleLbl="node1" presStyleIdx="1" presStyleCnt="3" custScaleX="116898" custLinFactNeighborX="-970" custLinFactNeighborY="5800">
        <dgm:presLayoutVars>
          <dgm:chMax val="1"/>
          <dgm:bulletEnabled val="1"/>
        </dgm:presLayoutVars>
      </dgm:prSet>
      <dgm:spPr/>
    </dgm:pt>
    <dgm:pt modelId="{40D33E8C-5B6F-4CA8-ACF4-D40795E908D6}" type="pres">
      <dgm:prSet presAssocID="{368D4A8D-EAC1-4612-B788-6109A32B517F}" presName="gear2srcNode" presStyleLbl="node1" presStyleIdx="1" presStyleCnt="3"/>
      <dgm:spPr/>
    </dgm:pt>
    <dgm:pt modelId="{CF8EF520-8A0E-4BFB-A455-DDD83FDF90F3}" type="pres">
      <dgm:prSet presAssocID="{368D4A8D-EAC1-4612-B788-6109A32B517F}" presName="gear2dstNode" presStyleLbl="node1" presStyleIdx="1" presStyleCnt="3"/>
      <dgm:spPr/>
    </dgm:pt>
    <dgm:pt modelId="{B37A02CE-522C-4AF6-BC4D-8642ED980006}" type="pres">
      <dgm:prSet presAssocID="{7B7C0CC6-40AB-40F3-878C-B6EB013A299E}" presName="gear3" presStyleLbl="node1" presStyleIdx="2" presStyleCnt="3" custScaleX="128948" custScaleY="122048" custLinFactNeighborX="5586" custLinFactNeighborY="-798"/>
      <dgm:spPr/>
    </dgm:pt>
    <dgm:pt modelId="{90B06232-301A-46B5-B665-7946DEE1BAAE}" type="pres">
      <dgm:prSet presAssocID="{7B7C0CC6-40AB-40F3-878C-B6EB013A299E}" presName="gear3tx" presStyleLbl="node1" presStyleIdx="2" presStyleCnt="3">
        <dgm:presLayoutVars>
          <dgm:chMax val="1"/>
          <dgm:bulletEnabled val="1"/>
        </dgm:presLayoutVars>
      </dgm:prSet>
      <dgm:spPr/>
    </dgm:pt>
    <dgm:pt modelId="{83C7BD9C-A90A-426A-A2F1-6F958D73087E}" type="pres">
      <dgm:prSet presAssocID="{7B7C0CC6-40AB-40F3-878C-B6EB013A299E}" presName="gear3srcNode" presStyleLbl="node1" presStyleIdx="2" presStyleCnt="3"/>
      <dgm:spPr/>
    </dgm:pt>
    <dgm:pt modelId="{A56BCEEC-54EB-49CA-B603-ACF31E4C2E55}" type="pres">
      <dgm:prSet presAssocID="{7B7C0CC6-40AB-40F3-878C-B6EB013A299E}" presName="gear3dstNode" presStyleLbl="node1" presStyleIdx="2" presStyleCnt="3"/>
      <dgm:spPr/>
    </dgm:pt>
    <dgm:pt modelId="{A40363F3-5EF6-4FE3-A9DD-F857F99624C1}" type="pres">
      <dgm:prSet presAssocID="{950B773D-F4A0-47D6-AC2B-66F47A0F7C1C}" presName="connector1" presStyleLbl="sibTrans2D1" presStyleIdx="0" presStyleCnt="3"/>
      <dgm:spPr/>
    </dgm:pt>
    <dgm:pt modelId="{7ADC301E-2178-42A2-A939-4C2D23E2418D}" type="pres">
      <dgm:prSet presAssocID="{675534C8-D2DC-43BE-91E2-5F4249C5B00A}" presName="connector2" presStyleLbl="sibTrans2D1" presStyleIdx="1" presStyleCnt="3"/>
      <dgm:spPr/>
    </dgm:pt>
    <dgm:pt modelId="{39BA007B-9E11-477B-8E3F-89AAA158FE2C}" type="pres">
      <dgm:prSet presAssocID="{D279E834-98FE-41A3-B8E6-EB7645045C04}" presName="connector3" presStyleLbl="sibTrans2D1" presStyleIdx="2" presStyleCnt="3" custLinFactNeighborX="-4164" custLinFactNeighborY="-3470"/>
      <dgm:spPr/>
    </dgm:pt>
  </dgm:ptLst>
  <dgm:cxnLst>
    <dgm:cxn modelId="{61B6020F-A159-43F7-9A1C-76079E4F6AB2}" type="presOf" srcId="{7B7C0CC6-40AB-40F3-878C-B6EB013A299E}" destId="{90B06232-301A-46B5-B665-7946DEE1BAAE}" srcOrd="1" destOrd="0" presId="urn:microsoft.com/office/officeart/2005/8/layout/gear1"/>
    <dgm:cxn modelId="{6442FA12-B672-4F16-8E22-FB985525389B}" type="presOf" srcId="{393588EB-3F85-4885-B6C1-9BDEB3E1F9AF}" destId="{FA7F31FC-0AE5-45D5-A07B-5B1C7AFE57ED}" srcOrd="2" destOrd="0" presId="urn:microsoft.com/office/officeart/2005/8/layout/gear1"/>
    <dgm:cxn modelId="{9B131B1A-430C-41AF-8FF3-2576ACDEAD89}" type="presOf" srcId="{393588EB-3F85-4885-B6C1-9BDEB3E1F9AF}" destId="{56A28AAD-DAAB-4F53-B4B6-0498555EB08E}" srcOrd="1" destOrd="0" presId="urn:microsoft.com/office/officeart/2005/8/layout/gear1"/>
    <dgm:cxn modelId="{E75E5024-4D23-489E-8525-B886D982CE08}" type="presOf" srcId="{368D4A8D-EAC1-4612-B788-6109A32B517F}" destId="{40D33E8C-5B6F-4CA8-ACF4-D40795E908D6}" srcOrd="1" destOrd="0" presId="urn:microsoft.com/office/officeart/2005/8/layout/gear1"/>
    <dgm:cxn modelId="{36340140-3454-4748-8705-DD49BA18AC8F}" srcId="{E40D20BD-E74A-4B29-B09A-4D1357D75BD4}" destId="{7B7C0CC6-40AB-40F3-878C-B6EB013A299E}" srcOrd="2" destOrd="0" parTransId="{2E8E1936-B4D7-43AC-B471-B546ACF1E1BF}" sibTransId="{D279E834-98FE-41A3-B8E6-EB7645045C04}"/>
    <dgm:cxn modelId="{78100342-D298-4E83-9F79-068CCCBF793B}" type="presOf" srcId="{368D4A8D-EAC1-4612-B788-6109A32B517F}" destId="{9AE37E49-B9D7-4B1E-A93B-2CE0F5B78621}" srcOrd="0" destOrd="0" presId="urn:microsoft.com/office/officeart/2005/8/layout/gear1"/>
    <dgm:cxn modelId="{4B992144-800C-4276-87D2-E4108BB9B81F}" srcId="{E40D20BD-E74A-4B29-B09A-4D1357D75BD4}" destId="{368D4A8D-EAC1-4612-B788-6109A32B517F}" srcOrd="1" destOrd="0" parTransId="{F40E8E19-67B4-421E-A6D1-9CC61AEDB2C2}" sibTransId="{675534C8-D2DC-43BE-91E2-5F4249C5B00A}"/>
    <dgm:cxn modelId="{DCB05D50-2484-4FA0-83F7-9237E26B0246}" srcId="{E40D20BD-E74A-4B29-B09A-4D1357D75BD4}" destId="{393588EB-3F85-4885-B6C1-9BDEB3E1F9AF}" srcOrd="0" destOrd="0" parTransId="{27628B26-9354-4DCC-B7A1-CE964B78AD95}" sibTransId="{950B773D-F4A0-47D6-AC2B-66F47A0F7C1C}"/>
    <dgm:cxn modelId="{453CC157-BD70-42FB-80A9-33811B405928}" type="presOf" srcId="{7B7C0CC6-40AB-40F3-878C-B6EB013A299E}" destId="{83C7BD9C-A90A-426A-A2F1-6F958D73087E}" srcOrd="2" destOrd="0" presId="urn:microsoft.com/office/officeart/2005/8/layout/gear1"/>
    <dgm:cxn modelId="{51E3A95A-9ED0-4C18-B023-3B5B5E9228B4}" type="presOf" srcId="{E40D20BD-E74A-4B29-B09A-4D1357D75BD4}" destId="{832A87EB-EACD-414D-B0B5-87DE8BD07FFF}" srcOrd="0" destOrd="0" presId="urn:microsoft.com/office/officeart/2005/8/layout/gear1"/>
    <dgm:cxn modelId="{1B76F99E-B143-44BA-BCD2-1C63873216D8}" type="presOf" srcId="{7B7C0CC6-40AB-40F3-878C-B6EB013A299E}" destId="{A56BCEEC-54EB-49CA-B603-ACF31E4C2E55}" srcOrd="3" destOrd="0" presId="urn:microsoft.com/office/officeart/2005/8/layout/gear1"/>
    <dgm:cxn modelId="{9773C2A5-BB43-4665-92D7-E999B4973F4F}" type="presOf" srcId="{368D4A8D-EAC1-4612-B788-6109A32B517F}" destId="{CF8EF520-8A0E-4BFB-A455-DDD83FDF90F3}" srcOrd="2" destOrd="0" presId="urn:microsoft.com/office/officeart/2005/8/layout/gear1"/>
    <dgm:cxn modelId="{53135AC0-7825-4FEF-B667-A8D9E1E3BAA0}" type="presOf" srcId="{7B7C0CC6-40AB-40F3-878C-B6EB013A299E}" destId="{B37A02CE-522C-4AF6-BC4D-8642ED980006}" srcOrd="0" destOrd="0" presId="urn:microsoft.com/office/officeart/2005/8/layout/gear1"/>
    <dgm:cxn modelId="{276F07C9-33CF-4955-A5CF-B3960D51B3B0}" type="presOf" srcId="{D279E834-98FE-41A3-B8E6-EB7645045C04}" destId="{39BA007B-9E11-477B-8E3F-89AAA158FE2C}" srcOrd="0" destOrd="0" presId="urn:microsoft.com/office/officeart/2005/8/layout/gear1"/>
    <dgm:cxn modelId="{3CBAAACB-4E2B-48C1-80F0-35C3D0246F52}" type="presOf" srcId="{950B773D-F4A0-47D6-AC2B-66F47A0F7C1C}" destId="{A40363F3-5EF6-4FE3-A9DD-F857F99624C1}" srcOrd="0" destOrd="0" presId="urn:microsoft.com/office/officeart/2005/8/layout/gear1"/>
    <dgm:cxn modelId="{30A498D1-D432-49F4-9269-D7DDB0B51230}" type="presOf" srcId="{393588EB-3F85-4885-B6C1-9BDEB3E1F9AF}" destId="{99503569-0F45-42E4-BE76-21FDA97135A9}" srcOrd="0" destOrd="0" presId="urn:microsoft.com/office/officeart/2005/8/layout/gear1"/>
    <dgm:cxn modelId="{7D5F45F3-9B95-4C77-A40A-701EEA2A7502}" type="presOf" srcId="{675534C8-D2DC-43BE-91E2-5F4249C5B00A}" destId="{7ADC301E-2178-42A2-A939-4C2D23E2418D}" srcOrd="0" destOrd="0" presId="urn:microsoft.com/office/officeart/2005/8/layout/gear1"/>
    <dgm:cxn modelId="{1B4FA6A2-F7D3-46CF-B04E-54E4438F3A4C}" type="presParOf" srcId="{832A87EB-EACD-414D-B0B5-87DE8BD07FFF}" destId="{99503569-0F45-42E4-BE76-21FDA97135A9}" srcOrd="0" destOrd="0" presId="urn:microsoft.com/office/officeart/2005/8/layout/gear1"/>
    <dgm:cxn modelId="{678BC1B7-5812-4D96-A3BE-F5896521BD70}" type="presParOf" srcId="{832A87EB-EACD-414D-B0B5-87DE8BD07FFF}" destId="{56A28AAD-DAAB-4F53-B4B6-0498555EB08E}" srcOrd="1" destOrd="0" presId="urn:microsoft.com/office/officeart/2005/8/layout/gear1"/>
    <dgm:cxn modelId="{FD7200A7-926E-4453-9216-25CCBAA8A301}" type="presParOf" srcId="{832A87EB-EACD-414D-B0B5-87DE8BD07FFF}" destId="{FA7F31FC-0AE5-45D5-A07B-5B1C7AFE57ED}" srcOrd="2" destOrd="0" presId="urn:microsoft.com/office/officeart/2005/8/layout/gear1"/>
    <dgm:cxn modelId="{B5012EB1-A19B-4CB3-A9C3-3FC1854E6AE1}" type="presParOf" srcId="{832A87EB-EACD-414D-B0B5-87DE8BD07FFF}" destId="{9AE37E49-B9D7-4B1E-A93B-2CE0F5B78621}" srcOrd="3" destOrd="0" presId="urn:microsoft.com/office/officeart/2005/8/layout/gear1"/>
    <dgm:cxn modelId="{261E37D3-74EA-480B-A1BA-1B0CFC7D4841}" type="presParOf" srcId="{832A87EB-EACD-414D-B0B5-87DE8BD07FFF}" destId="{40D33E8C-5B6F-4CA8-ACF4-D40795E908D6}" srcOrd="4" destOrd="0" presId="urn:microsoft.com/office/officeart/2005/8/layout/gear1"/>
    <dgm:cxn modelId="{DC09E928-086E-4806-B031-70BCAFF66C3E}" type="presParOf" srcId="{832A87EB-EACD-414D-B0B5-87DE8BD07FFF}" destId="{CF8EF520-8A0E-4BFB-A455-DDD83FDF90F3}" srcOrd="5" destOrd="0" presId="urn:microsoft.com/office/officeart/2005/8/layout/gear1"/>
    <dgm:cxn modelId="{CBDD9580-273B-4D81-9D87-F6A5E5A76EDA}" type="presParOf" srcId="{832A87EB-EACD-414D-B0B5-87DE8BD07FFF}" destId="{B37A02CE-522C-4AF6-BC4D-8642ED980006}" srcOrd="6" destOrd="0" presId="urn:microsoft.com/office/officeart/2005/8/layout/gear1"/>
    <dgm:cxn modelId="{5801E32A-ABBA-4354-942C-368AE7C81113}" type="presParOf" srcId="{832A87EB-EACD-414D-B0B5-87DE8BD07FFF}" destId="{90B06232-301A-46B5-B665-7946DEE1BAAE}" srcOrd="7" destOrd="0" presId="urn:microsoft.com/office/officeart/2005/8/layout/gear1"/>
    <dgm:cxn modelId="{411234C6-2716-4782-9E09-2FE7067F9C8C}" type="presParOf" srcId="{832A87EB-EACD-414D-B0B5-87DE8BD07FFF}" destId="{83C7BD9C-A90A-426A-A2F1-6F958D73087E}" srcOrd="8" destOrd="0" presId="urn:microsoft.com/office/officeart/2005/8/layout/gear1"/>
    <dgm:cxn modelId="{BD51E8B0-D150-4865-B65B-86C3C382E13E}" type="presParOf" srcId="{832A87EB-EACD-414D-B0B5-87DE8BD07FFF}" destId="{A56BCEEC-54EB-49CA-B603-ACF31E4C2E55}" srcOrd="9" destOrd="0" presId="urn:microsoft.com/office/officeart/2005/8/layout/gear1"/>
    <dgm:cxn modelId="{B9EABE52-FA8D-40A5-9D49-E4973AB40380}" type="presParOf" srcId="{832A87EB-EACD-414D-B0B5-87DE8BD07FFF}" destId="{A40363F3-5EF6-4FE3-A9DD-F857F99624C1}" srcOrd="10" destOrd="0" presId="urn:microsoft.com/office/officeart/2005/8/layout/gear1"/>
    <dgm:cxn modelId="{49DE8B34-F45C-4F58-9E3E-DAD6651ABC73}" type="presParOf" srcId="{832A87EB-EACD-414D-B0B5-87DE8BD07FFF}" destId="{7ADC301E-2178-42A2-A939-4C2D23E2418D}" srcOrd="11" destOrd="0" presId="urn:microsoft.com/office/officeart/2005/8/layout/gear1"/>
    <dgm:cxn modelId="{24A70EE7-CDD5-4C88-AE20-5A3B85E15B28}" type="presParOf" srcId="{832A87EB-EACD-414D-B0B5-87DE8BD07FFF}" destId="{39BA007B-9E11-477B-8E3F-89AAA158FE2C}"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2E87CB-E199-4010-9305-54A7260C15AA}" type="doc">
      <dgm:prSet loTypeId="urn:microsoft.com/office/officeart/2005/8/layout/vProcess5" loCatId="process" qsTypeId="urn:microsoft.com/office/officeart/2005/8/quickstyle/3d1" qsCatId="3D" csTypeId="urn:microsoft.com/office/officeart/2005/8/colors/accent0_3" csCatId="mainScheme" phldr="1"/>
      <dgm:spPr/>
      <dgm:t>
        <a:bodyPr/>
        <a:lstStyle/>
        <a:p>
          <a:endParaRPr lang="pt-BR"/>
        </a:p>
      </dgm:t>
    </dgm:pt>
    <dgm:pt modelId="{8B5C8509-7ECF-4E47-AF1E-C173CA880303}">
      <dgm:prSet phldrT="[Texto]" custT="1"/>
      <dgm:spPr/>
      <dgm:t>
        <a:bodyPr/>
        <a:lstStyle/>
        <a:p>
          <a:r>
            <a:rPr lang="pt-BR" sz="2400" dirty="0"/>
            <a:t>Órgãos e entidades do Poder Executivo Federal deverão:</a:t>
          </a:r>
        </a:p>
      </dgm:t>
    </dgm:pt>
    <dgm:pt modelId="{F831CF6A-5A6C-45D1-999D-0435F5B8BECB}" type="parTrans" cxnId="{FA880B51-82BF-4644-9444-C38E8EAF09F4}">
      <dgm:prSet/>
      <dgm:spPr/>
      <dgm:t>
        <a:bodyPr/>
        <a:lstStyle/>
        <a:p>
          <a:endParaRPr lang="pt-BR"/>
        </a:p>
      </dgm:t>
    </dgm:pt>
    <dgm:pt modelId="{3D6978D5-59F5-45AC-8B14-42D4B9C913F4}" type="sibTrans" cxnId="{FA880B51-82BF-4644-9444-C38E8EAF09F4}">
      <dgm:prSet/>
      <dgm:spPr/>
      <dgm:t>
        <a:bodyPr/>
        <a:lstStyle/>
        <a:p>
          <a:endParaRPr lang="pt-BR"/>
        </a:p>
      </dgm:t>
    </dgm:pt>
    <dgm:pt modelId="{A6066318-DE07-4D76-94F8-971392DA9FB8}">
      <dgm:prSet phldrT="[Texto]"/>
      <dgm:spPr/>
      <dgm:t>
        <a:bodyPr/>
        <a:lstStyle/>
        <a:p>
          <a:r>
            <a:rPr lang="pt-BR" dirty="0"/>
            <a:t>Implementar, manter, monitorar e revisar os controles internos da gestão</a:t>
          </a:r>
        </a:p>
      </dgm:t>
    </dgm:pt>
    <dgm:pt modelId="{014A5C71-239D-43A3-B85D-9AABC89FF500}" type="parTrans" cxnId="{FB3FA30A-7F3A-4B92-8D50-3112C8465F60}">
      <dgm:prSet/>
      <dgm:spPr/>
      <dgm:t>
        <a:bodyPr/>
        <a:lstStyle/>
        <a:p>
          <a:endParaRPr lang="pt-BR"/>
        </a:p>
      </dgm:t>
    </dgm:pt>
    <dgm:pt modelId="{3EE7F8E7-65D0-45B5-AB24-942D8E144BDE}" type="sibTrans" cxnId="{FB3FA30A-7F3A-4B92-8D50-3112C8465F60}">
      <dgm:prSet/>
      <dgm:spPr/>
      <dgm:t>
        <a:bodyPr/>
        <a:lstStyle/>
        <a:p>
          <a:endParaRPr lang="pt-BR"/>
        </a:p>
      </dgm:t>
    </dgm:pt>
    <dgm:pt modelId="{4A9E76A2-30A3-4317-83C6-09C68EAABB4C}">
      <dgm:prSet phldrT="[Texto]"/>
      <dgm:spPr/>
      <dgm:t>
        <a:bodyPr/>
        <a:lstStyle/>
        <a:p>
          <a:r>
            <a:rPr lang="pt-BR" dirty="0"/>
            <a:t>Ter por base a identificação, a avaliação e o gerenciamento de riscos</a:t>
          </a:r>
        </a:p>
      </dgm:t>
    </dgm:pt>
    <dgm:pt modelId="{8BF7F7D5-4259-4BC4-837A-45FB1480A9CD}" type="parTrans" cxnId="{E2844254-40ED-47F7-9DB5-F230BB5EDAE8}">
      <dgm:prSet/>
      <dgm:spPr/>
      <dgm:t>
        <a:bodyPr/>
        <a:lstStyle/>
        <a:p>
          <a:endParaRPr lang="pt-BR"/>
        </a:p>
      </dgm:t>
    </dgm:pt>
    <dgm:pt modelId="{5ECB1706-CF7C-43F0-9219-F6B4D20F86DB}" type="sibTrans" cxnId="{E2844254-40ED-47F7-9DB5-F230BB5EDAE8}">
      <dgm:prSet/>
      <dgm:spPr/>
      <dgm:t>
        <a:bodyPr/>
        <a:lstStyle/>
        <a:p>
          <a:endParaRPr lang="pt-BR"/>
        </a:p>
      </dgm:t>
    </dgm:pt>
    <dgm:pt modelId="{3A9C0D65-572C-4F2B-A2BD-97CCB6A42A99}">
      <dgm:prSet phldrT="[Texto]"/>
      <dgm:spPr/>
      <dgm:t>
        <a:bodyPr/>
        <a:lstStyle/>
        <a:p>
          <a:r>
            <a:rPr lang="pt-BR" dirty="0"/>
            <a:t>Considerar os riscos que se pretende mitigar tendo em vista os objetivos das organizações públicas</a:t>
          </a:r>
        </a:p>
      </dgm:t>
    </dgm:pt>
    <dgm:pt modelId="{DBDE09C9-0175-42F4-A8CF-CD57FEF1CDFF}" type="parTrans" cxnId="{B3CEDDDC-15A5-4BCA-B10A-19C4B15E26C0}">
      <dgm:prSet/>
      <dgm:spPr/>
      <dgm:t>
        <a:bodyPr/>
        <a:lstStyle/>
        <a:p>
          <a:endParaRPr lang="pt-BR"/>
        </a:p>
      </dgm:t>
    </dgm:pt>
    <dgm:pt modelId="{DA855045-584C-413A-A206-49D0CCE9AF70}" type="sibTrans" cxnId="{B3CEDDDC-15A5-4BCA-B10A-19C4B15E26C0}">
      <dgm:prSet/>
      <dgm:spPr/>
      <dgm:t>
        <a:bodyPr/>
        <a:lstStyle/>
        <a:p>
          <a:endParaRPr lang="pt-BR"/>
        </a:p>
      </dgm:t>
    </dgm:pt>
    <dgm:pt modelId="{C939CFFA-5897-45C9-9889-76A03017AEEF}">
      <dgm:prSet phldrT="[Texto]"/>
      <dgm:spPr/>
      <dgm:t>
        <a:bodyPr/>
        <a:lstStyle/>
        <a:p>
          <a:r>
            <a:rPr lang="pt-BR" dirty="0"/>
            <a:t>Ter controles adequados para mitigar a probabilidade de ocorrência dos riscos, ou o seu impacto nos objetivos organizacionais</a:t>
          </a:r>
        </a:p>
      </dgm:t>
    </dgm:pt>
    <dgm:pt modelId="{B9595EDF-9738-468A-B402-7D1499ACC98C}" type="parTrans" cxnId="{29F979E1-6812-4B23-8516-8ABD9DFFD861}">
      <dgm:prSet/>
      <dgm:spPr/>
      <dgm:t>
        <a:bodyPr/>
        <a:lstStyle/>
        <a:p>
          <a:endParaRPr lang="pt-BR"/>
        </a:p>
      </dgm:t>
    </dgm:pt>
    <dgm:pt modelId="{99A00316-45AE-4286-8FB0-DB2B9FA2D26C}" type="sibTrans" cxnId="{29F979E1-6812-4B23-8516-8ABD9DFFD861}">
      <dgm:prSet/>
      <dgm:spPr/>
      <dgm:t>
        <a:bodyPr/>
        <a:lstStyle/>
        <a:p>
          <a:endParaRPr lang="pt-BR"/>
        </a:p>
      </dgm:t>
    </dgm:pt>
    <dgm:pt modelId="{E98B48D5-5B9C-477B-B27E-7ED1F03F7E13}" type="pres">
      <dgm:prSet presAssocID="{A92E87CB-E199-4010-9305-54A7260C15AA}" presName="outerComposite" presStyleCnt="0">
        <dgm:presLayoutVars>
          <dgm:chMax val="5"/>
          <dgm:dir/>
          <dgm:resizeHandles val="exact"/>
        </dgm:presLayoutVars>
      </dgm:prSet>
      <dgm:spPr/>
    </dgm:pt>
    <dgm:pt modelId="{EA4C647B-99DD-4F7A-9007-E6A4975A9DF3}" type="pres">
      <dgm:prSet presAssocID="{A92E87CB-E199-4010-9305-54A7260C15AA}" presName="dummyMaxCanvas" presStyleCnt="0">
        <dgm:presLayoutVars/>
      </dgm:prSet>
      <dgm:spPr/>
    </dgm:pt>
    <dgm:pt modelId="{0B4CD0C9-3F1C-41FE-B19B-6A694957AE8A}" type="pres">
      <dgm:prSet presAssocID="{A92E87CB-E199-4010-9305-54A7260C15AA}" presName="FiveNodes_1" presStyleLbl="node1" presStyleIdx="0" presStyleCnt="5">
        <dgm:presLayoutVars>
          <dgm:bulletEnabled val="1"/>
        </dgm:presLayoutVars>
      </dgm:prSet>
      <dgm:spPr/>
    </dgm:pt>
    <dgm:pt modelId="{31B11963-B18C-4A1B-A54F-58923B4B957A}" type="pres">
      <dgm:prSet presAssocID="{A92E87CB-E199-4010-9305-54A7260C15AA}" presName="FiveNodes_2" presStyleLbl="node1" presStyleIdx="1" presStyleCnt="5">
        <dgm:presLayoutVars>
          <dgm:bulletEnabled val="1"/>
        </dgm:presLayoutVars>
      </dgm:prSet>
      <dgm:spPr/>
    </dgm:pt>
    <dgm:pt modelId="{99D32DBC-52B7-4476-B611-1EF26C6FC522}" type="pres">
      <dgm:prSet presAssocID="{A92E87CB-E199-4010-9305-54A7260C15AA}" presName="FiveNodes_3" presStyleLbl="node1" presStyleIdx="2" presStyleCnt="5">
        <dgm:presLayoutVars>
          <dgm:bulletEnabled val="1"/>
        </dgm:presLayoutVars>
      </dgm:prSet>
      <dgm:spPr/>
    </dgm:pt>
    <dgm:pt modelId="{1307F52F-4339-4AAA-B253-EDDA1EEF3E1C}" type="pres">
      <dgm:prSet presAssocID="{A92E87CB-E199-4010-9305-54A7260C15AA}" presName="FiveNodes_4" presStyleLbl="node1" presStyleIdx="3" presStyleCnt="5">
        <dgm:presLayoutVars>
          <dgm:bulletEnabled val="1"/>
        </dgm:presLayoutVars>
      </dgm:prSet>
      <dgm:spPr/>
    </dgm:pt>
    <dgm:pt modelId="{50B3346B-A1C6-46C8-9F88-9BA2EB03DB26}" type="pres">
      <dgm:prSet presAssocID="{A92E87CB-E199-4010-9305-54A7260C15AA}" presName="FiveNodes_5" presStyleLbl="node1" presStyleIdx="4" presStyleCnt="5">
        <dgm:presLayoutVars>
          <dgm:bulletEnabled val="1"/>
        </dgm:presLayoutVars>
      </dgm:prSet>
      <dgm:spPr/>
    </dgm:pt>
    <dgm:pt modelId="{95A863DE-530F-4B65-AAB4-5E205346A0C2}" type="pres">
      <dgm:prSet presAssocID="{A92E87CB-E199-4010-9305-54A7260C15AA}" presName="FiveConn_1-2" presStyleLbl="fgAccFollowNode1" presStyleIdx="0" presStyleCnt="4">
        <dgm:presLayoutVars>
          <dgm:bulletEnabled val="1"/>
        </dgm:presLayoutVars>
      </dgm:prSet>
      <dgm:spPr/>
    </dgm:pt>
    <dgm:pt modelId="{71821F0A-A373-47E6-A1E9-BF478BA218B0}" type="pres">
      <dgm:prSet presAssocID="{A92E87CB-E199-4010-9305-54A7260C15AA}" presName="FiveConn_2-3" presStyleLbl="fgAccFollowNode1" presStyleIdx="1" presStyleCnt="4">
        <dgm:presLayoutVars>
          <dgm:bulletEnabled val="1"/>
        </dgm:presLayoutVars>
      </dgm:prSet>
      <dgm:spPr/>
    </dgm:pt>
    <dgm:pt modelId="{750D56BD-FFE5-4AAF-AAFC-D2FE49828F9A}" type="pres">
      <dgm:prSet presAssocID="{A92E87CB-E199-4010-9305-54A7260C15AA}" presName="FiveConn_3-4" presStyleLbl="fgAccFollowNode1" presStyleIdx="2" presStyleCnt="4">
        <dgm:presLayoutVars>
          <dgm:bulletEnabled val="1"/>
        </dgm:presLayoutVars>
      </dgm:prSet>
      <dgm:spPr/>
    </dgm:pt>
    <dgm:pt modelId="{A5AF2F43-A184-4F2B-AF86-6F44C92A68F2}" type="pres">
      <dgm:prSet presAssocID="{A92E87CB-E199-4010-9305-54A7260C15AA}" presName="FiveConn_4-5" presStyleLbl="fgAccFollowNode1" presStyleIdx="3" presStyleCnt="4">
        <dgm:presLayoutVars>
          <dgm:bulletEnabled val="1"/>
        </dgm:presLayoutVars>
      </dgm:prSet>
      <dgm:spPr/>
    </dgm:pt>
    <dgm:pt modelId="{0CC3588C-7AD3-45C4-B2E6-096E6B02A7C5}" type="pres">
      <dgm:prSet presAssocID="{A92E87CB-E199-4010-9305-54A7260C15AA}" presName="FiveNodes_1_text" presStyleLbl="node1" presStyleIdx="4" presStyleCnt="5">
        <dgm:presLayoutVars>
          <dgm:bulletEnabled val="1"/>
        </dgm:presLayoutVars>
      </dgm:prSet>
      <dgm:spPr/>
    </dgm:pt>
    <dgm:pt modelId="{84725D3E-D00E-462B-BF1B-AE9CBDBC5980}" type="pres">
      <dgm:prSet presAssocID="{A92E87CB-E199-4010-9305-54A7260C15AA}" presName="FiveNodes_2_text" presStyleLbl="node1" presStyleIdx="4" presStyleCnt="5">
        <dgm:presLayoutVars>
          <dgm:bulletEnabled val="1"/>
        </dgm:presLayoutVars>
      </dgm:prSet>
      <dgm:spPr/>
    </dgm:pt>
    <dgm:pt modelId="{32182564-6CE3-4EED-AEC6-3FB8D5DD7B42}" type="pres">
      <dgm:prSet presAssocID="{A92E87CB-E199-4010-9305-54A7260C15AA}" presName="FiveNodes_3_text" presStyleLbl="node1" presStyleIdx="4" presStyleCnt="5">
        <dgm:presLayoutVars>
          <dgm:bulletEnabled val="1"/>
        </dgm:presLayoutVars>
      </dgm:prSet>
      <dgm:spPr/>
    </dgm:pt>
    <dgm:pt modelId="{E455547A-7412-496B-BA0B-68B7E10AA1CC}" type="pres">
      <dgm:prSet presAssocID="{A92E87CB-E199-4010-9305-54A7260C15AA}" presName="FiveNodes_4_text" presStyleLbl="node1" presStyleIdx="4" presStyleCnt="5">
        <dgm:presLayoutVars>
          <dgm:bulletEnabled val="1"/>
        </dgm:presLayoutVars>
      </dgm:prSet>
      <dgm:spPr/>
    </dgm:pt>
    <dgm:pt modelId="{84845BB1-101B-4B4D-87A2-34E0E5B9844F}" type="pres">
      <dgm:prSet presAssocID="{A92E87CB-E199-4010-9305-54A7260C15AA}" presName="FiveNodes_5_text" presStyleLbl="node1" presStyleIdx="4" presStyleCnt="5">
        <dgm:presLayoutVars>
          <dgm:bulletEnabled val="1"/>
        </dgm:presLayoutVars>
      </dgm:prSet>
      <dgm:spPr/>
    </dgm:pt>
  </dgm:ptLst>
  <dgm:cxnLst>
    <dgm:cxn modelId="{FB3FA30A-7F3A-4B92-8D50-3112C8465F60}" srcId="{A92E87CB-E199-4010-9305-54A7260C15AA}" destId="{A6066318-DE07-4D76-94F8-971392DA9FB8}" srcOrd="1" destOrd="0" parTransId="{014A5C71-239D-43A3-B85D-9AABC89FF500}" sibTransId="{3EE7F8E7-65D0-45B5-AB24-942D8E144BDE}"/>
    <dgm:cxn modelId="{CD9E8E0C-1DA7-4892-8640-10B94B9C6375}" type="presOf" srcId="{A92E87CB-E199-4010-9305-54A7260C15AA}" destId="{E98B48D5-5B9C-477B-B27E-7ED1F03F7E13}" srcOrd="0" destOrd="0" presId="urn:microsoft.com/office/officeart/2005/8/layout/vProcess5"/>
    <dgm:cxn modelId="{965AC313-D75A-4F0E-832D-86395FFF7C18}" type="presOf" srcId="{3EE7F8E7-65D0-45B5-AB24-942D8E144BDE}" destId="{71821F0A-A373-47E6-A1E9-BF478BA218B0}" srcOrd="0" destOrd="0" presId="urn:microsoft.com/office/officeart/2005/8/layout/vProcess5"/>
    <dgm:cxn modelId="{46681B2C-D31D-4080-B81A-49350D57073A}" type="presOf" srcId="{8B5C8509-7ECF-4E47-AF1E-C173CA880303}" destId="{0B4CD0C9-3F1C-41FE-B19B-6A694957AE8A}" srcOrd="0" destOrd="0" presId="urn:microsoft.com/office/officeart/2005/8/layout/vProcess5"/>
    <dgm:cxn modelId="{0891D539-456E-4568-8655-00E63234571A}" type="presOf" srcId="{3D6978D5-59F5-45AC-8B14-42D4B9C913F4}" destId="{95A863DE-530F-4B65-AAB4-5E205346A0C2}" srcOrd="0" destOrd="0" presId="urn:microsoft.com/office/officeart/2005/8/layout/vProcess5"/>
    <dgm:cxn modelId="{6B04175D-7492-409E-A202-9B26DE693FE5}" type="presOf" srcId="{8B5C8509-7ECF-4E47-AF1E-C173CA880303}" destId="{0CC3588C-7AD3-45C4-B2E6-096E6B02A7C5}" srcOrd="1" destOrd="0" presId="urn:microsoft.com/office/officeart/2005/8/layout/vProcess5"/>
    <dgm:cxn modelId="{B9CD255D-9A3F-4C9C-9DD5-B81596BFC64A}" type="presOf" srcId="{A6066318-DE07-4D76-94F8-971392DA9FB8}" destId="{84725D3E-D00E-462B-BF1B-AE9CBDBC5980}" srcOrd="1" destOrd="0" presId="urn:microsoft.com/office/officeart/2005/8/layout/vProcess5"/>
    <dgm:cxn modelId="{34155244-27E6-45A8-8662-261628D4750E}" type="presOf" srcId="{C939CFFA-5897-45C9-9889-76A03017AEEF}" destId="{50B3346B-A1C6-46C8-9F88-9BA2EB03DB26}" srcOrd="0" destOrd="0" presId="urn:microsoft.com/office/officeart/2005/8/layout/vProcess5"/>
    <dgm:cxn modelId="{86A7726A-6BA4-44F7-B30B-538A0C83BFC9}" type="presOf" srcId="{3A9C0D65-572C-4F2B-A2BD-97CCB6A42A99}" destId="{E455547A-7412-496B-BA0B-68B7E10AA1CC}" srcOrd="1" destOrd="0" presId="urn:microsoft.com/office/officeart/2005/8/layout/vProcess5"/>
    <dgm:cxn modelId="{FA880B51-82BF-4644-9444-C38E8EAF09F4}" srcId="{A92E87CB-E199-4010-9305-54A7260C15AA}" destId="{8B5C8509-7ECF-4E47-AF1E-C173CA880303}" srcOrd="0" destOrd="0" parTransId="{F831CF6A-5A6C-45D1-999D-0435F5B8BECB}" sibTransId="{3D6978D5-59F5-45AC-8B14-42D4B9C913F4}"/>
    <dgm:cxn modelId="{E2844254-40ED-47F7-9DB5-F230BB5EDAE8}" srcId="{A92E87CB-E199-4010-9305-54A7260C15AA}" destId="{4A9E76A2-30A3-4317-83C6-09C68EAABB4C}" srcOrd="2" destOrd="0" parTransId="{8BF7F7D5-4259-4BC4-837A-45FB1480A9CD}" sibTransId="{5ECB1706-CF7C-43F0-9219-F6B4D20F86DB}"/>
    <dgm:cxn modelId="{2459C096-B7D2-4122-B817-2A93963F949A}" type="presOf" srcId="{5ECB1706-CF7C-43F0-9219-F6B4D20F86DB}" destId="{750D56BD-FFE5-4AAF-AAFC-D2FE49828F9A}" srcOrd="0" destOrd="0" presId="urn:microsoft.com/office/officeart/2005/8/layout/vProcess5"/>
    <dgm:cxn modelId="{AEACA0A5-5931-4C4D-92A4-D9267B9EE6C5}" type="presOf" srcId="{4A9E76A2-30A3-4317-83C6-09C68EAABB4C}" destId="{99D32DBC-52B7-4476-B611-1EF26C6FC522}" srcOrd="0" destOrd="0" presId="urn:microsoft.com/office/officeart/2005/8/layout/vProcess5"/>
    <dgm:cxn modelId="{4E844CBB-4427-49E0-8476-7C1E9CAA239A}" type="presOf" srcId="{3A9C0D65-572C-4F2B-A2BD-97CCB6A42A99}" destId="{1307F52F-4339-4AAA-B253-EDDA1EEF3E1C}" srcOrd="0" destOrd="0" presId="urn:microsoft.com/office/officeart/2005/8/layout/vProcess5"/>
    <dgm:cxn modelId="{F373AAD2-EA46-4E48-BD7B-D09C5FFB90C8}" type="presOf" srcId="{A6066318-DE07-4D76-94F8-971392DA9FB8}" destId="{31B11963-B18C-4A1B-A54F-58923B4B957A}" srcOrd="0" destOrd="0" presId="urn:microsoft.com/office/officeart/2005/8/layout/vProcess5"/>
    <dgm:cxn modelId="{A6F15AD3-133D-4BFD-BFE6-F42B927E9078}" type="presOf" srcId="{DA855045-584C-413A-A206-49D0CCE9AF70}" destId="{A5AF2F43-A184-4F2B-AF86-6F44C92A68F2}" srcOrd="0" destOrd="0" presId="urn:microsoft.com/office/officeart/2005/8/layout/vProcess5"/>
    <dgm:cxn modelId="{B3CEDDDC-15A5-4BCA-B10A-19C4B15E26C0}" srcId="{A92E87CB-E199-4010-9305-54A7260C15AA}" destId="{3A9C0D65-572C-4F2B-A2BD-97CCB6A42A99}" srcOrd="3" destOrd="0" parTransId="{DBDE09C9-0175-42F4-A8CF-CD57FEF1CDFF}" sibTransId="{DA855045-584C-413A-A206-49D0CCE9AF70}"/>
    <dgm:cxn modelId="{AECEA0E0-3BE8-4570-ACFD-48AA9579D86E}" type="presOf" srcId="{4A9E76A2-30A3-4317-83C6-09C68EAABB4C}" destId="{32182564-6CE3-4EED-AEC6-3FB8D5DD7B42}" srcOrd="1" destOrd="0" presId="urn:microsoft.com/office/officeart/2005/8/layout/vProcess5"/>
    <dgm:cxn modelId="{29F979E1-6812-4B23-8516-8ABD9DFFD861}" srcId="{A92E87CB-E199-4010-9305-54A7260C15AA}" destId="{C939CFFA-5897-45C9-9889-76A03017AEEF}" srcOrd="4" destOrd="0" parTransId="{B9595EDF-9738-468A-B402-7D1499ACC98C}" sibTransId="{99A00316-45AE-4286-8FB0-DB2B9FA2D26C}"/>
    <dgm:cxn modelId="{994A7FF3-6252-4F44-995D-E0615109C9B5}" type="presOf" srcId="{C939CFFA-5897-45C9-9889-76A03017AEEF}" destId="{84845BB1-101B-4B4D-87A2-34E0E5B9844F}" srcOrd="1" destOrd="0" presId="urn:microsoft.com/office/officeart/2005/8/layout/vProcess5"/>
    <dgm:cxn modelId="{CD9C5B79-1E35-46F6-B85F-A20FCBCC27FE}" type="presParOf" srcId="{E98B48D5-5B9C-477B-B27E-7ED1F03F7E13}" destId="{EA4C647B-99DD-4F7A-9007-E6A4975A9DF3}" srcOrd="0" destOrd="0" presId="urn:microsoft.com/office/officeart/2005/8/layout/vProcess5"/>
    <dgm:cxn modelId="{05E436FC-B82A-461B-8784-E60206207564}" type="presParOf" srcId="{E98B48D5-5B9C-477B-B27E-7ED1F03F7E13}" destId="{0B4CD0C9-3F1C-41FE-B19B-6A694957AE8A}" srcOrd="1" destOrd="0" presId="urn:microsoft.com/office/officeart/2005/8/layout/vProcess5"/>
    <dgm:cxn modelId="{A3074EFC-A101-415C-9CB5-5F6770AB467B}" type="presParOf" srcId="{E98B48D5-5B9C-477B-B27E-7ED1F03F7E13}" destId="{31B11963-B18C-4A1B-A54F-58923B4B957A}" srcOrd="2" destOrd="0" presId="urn:microsoft.com/office/officeart/2005/8/layout/vProcess5"/>
    <dgm:cxn modelId="{1BC303DE-BAAE-4B44-BB45-ED429EF2E0BB}" type="presParOf" srcId="{E98B48D5-5B9C-477B-B27E-7ED1F03F7E13}" destId="{99D32DBC-52B7-4476-B611-1EF26C6FC522}" srcOrd="3" destOrd="0" presId="urn:microsoft.com/office/officeart/2005/8/layout/vProcess5"/>
    <dgm:cxn modelId="{9B6D567E-1E98-48C6-B447-051EAA7ED579}" type="presParOf" srcId="{E98B48D5-5B9C-477B-B27E-7ED1F03F7E13}" destId="{1307F52F-4339-4AAA-B253-EDDA1EEF3E1C}" srcOrd="4" destOrd="0" presId="urn:microsoft.com/office/officeart/2005/8/layout/vProcess5"/>
    <dgm:cxn modelId="{AFDFF550-49BD-431D-A8BA-371FCBB43A94}" type="presParOf" srcId="{E98B48D5-5B9C-477B-B27E-7ED1F03F7E13}" destId="{50B3346B-A1C6-46C8-9F88-9BA2EB03DB26}" srcOrd="5" destOrd="0" presId="urn:microsoft.com/office/officeart/2005/8/layout/vProcess5"/>
    <dgm:cxn modelId="{2D84162B-5E90-4BAC-AC34-F1488BCCB29C}" type="presParOf" srcId="{E98B48D5-5B9C-477B-B27E-7ED1F03F7E13}" destId="{95A863DE-530F-4B65-AAB4-5E205346A0C2}" srcOrd="6" destOrd="0" presId="urn:microsoft.com/office/officeart/2005/8/layout/vProcess5"/>
    <dgm:cxn modelId="{4A0E702D-D2E3-4B0F-881C-5FEFE532923A}" type="presParOf" srcId="{E98B48D5-5B9C-477B-B27E-7ED1F03F7E13}" destId="{71821F0A-A373-47E6-A1E9-BF478BA218B0}" srcOrd="7" destOrd="0" presId="urn:microsoft.com/office/officeart/2005/8/layout/vProcess5"/>
    <dgm:cxn modelId="{C93CEBFC-173A-41F7-8692-9D78DCE5D0E3}" type="presParOf" srcId="{E98B48D5-5B9C-477B-B27E-7ED1F03F7E13}" destId="{750D56BD-FFE5-4AAF-AAFC-D2FE49828F9A}" srcOrd="8" destOrd="0" presId="urn:microsoft.com/office/officeart/2005/8/layout/vProcess5"/>
    <dgm:cxn modelId="{1897D507-7776-46B7-B7F9-4C316C1C166B}" type="presParOf" srcId="{E98B48D5-5B9C-477B-B27E-7ED1F03F7E13}" destId="{A5AF2F43-A184-4F2B-AF86-6F44C92A68F2}" srcOrd="9" destOrd="0" presId="urn:microsoft.com/office/officeart/2005/8/layout/vProcess5"/>
    <dgm:cxn modelId="{B03014D3-7BCE-4860-A448-CFD37ABCD4EA}" type="presParOf" srcId="{E98B48D5-5B9C-477B-B27E-7ED1F03F7E13}" destId="{0CC3588C-7AD3-45C4-B2E6-096E6B02A7C5}" srcOrd="10" destOrd="0" presId="urn:microsoft.com/office/officeart/2005/8/layout/vProcess5"/>
    <dgm:cxn modelId="{97C452AB-AE8A-40F5-B09D-730918CA4032}" type="presParOf" srcId="{E98B48D5-5B9C-477B-B27E-7ED1F03F7E13}" destId="{84725D3E-D00E-462B-BF1B-AE9CBDBC5980}" srcOrd="11" destOrd="0" presId="urn:microsoft.com/office/officeart/2005/8/layout/vProcess5"/>
    <dgm:cxn modelId="{7FF8A643-940C-4D1C-BBE6-B7C1C4940081}" type="presParOf" srcId="{E98B48D5-5B9C-477B-B27E-7ED1F03F7E13}" destId="{32182564-6CE3-4EED-AEC6-3FB8D5DD7B42}" srcOrd="12" destOrd="0" presId="urn:microsoft.com/office/officeart/2005/8/layout/vProcess5"/>
    <dgm:cxn modelId="{1819616F-B1B6-43AB-9A8D-FB35471E42D1}" type="presParOf" srcId="{E98B48D5-5B9C-477B-B27E-7ED1F03F7E13}" destId="{E455547A-7412-496B-BA0B-68B7E10AA1CC}" srcOrd="13" destOrd="0" presId="urn:microsoft.com/office/officeart/2005/8/layout/vProcess5"/>
    <dgm:cxn modelId="{B7ADC449-2497-4345-84DB-E4B7798E919C}" type="presParOf" srcId="{E98B48D5-5B9C-477B-B27E-7ED1F03F7E13}" destId="{84845BB1-101B-4B4D-87A2-34E0E5B9844F}"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4D6D53B-36A0-4945-9275-B4E61B410043}" type="doc">
      <dgm:prSet loTypeId="urn:microsoft.com/office/officeart/2008/layout/LinedList" loCatId="list" qsTypeId="urn:microsoft.com/office/officeart/2005/8/quickstyle/simple1" qsCatId="simple" csTypeId="urn:microsoft.com/office/officeart/2005/8/colors/accent6_1" csCatId="accent6" phldr="1"/>
      <dgm:spPr/>
      <dgm:t>
        <a:bodyPr/>
        <a:lstStyle/>
        <a:p>
          <a:endParaRPr lang="pt-BR"/>
        </a:p>
      </dgm:t>
    </dgm:pt>
    <dgm:pt modelId="{5F7B2B33-15E5-4AF6-B190-E0D8287E2026}">
      <dgm:prSet phldrT="[Texto]" custT="1"/>
      <dgm:spPr/>
      <dgm:t>
        <a:bodyPr/>
        <a:lstStyle/>
        <a:p>
          <a:r>
            <a:rPr lang="pt-BR" sz="1800" b="1" dirty="0">
              <a:solidFill>
                <a:srgbClr val="006666"/>
              </a:solidFill>
            </a:rPr>
            <a:t>Os controles internos da gestão devem:</a:t>
          </a:r>
          <a:endParaRPr lang="pt-BR" sz="1800" dirty="0">
            <a:solidFill>
              <a:srgbClr val="006666"/>
            </a:solidFill>
          </a:endParaRPr>
        </a:p>
      </dgm:t>
    </dgm:pt>
    <dgm:pt modelId="{993EEDBB-7AD2-40FB-942C-C80BD97FFD7C}" type="parTrans" cxnId="{B78C7EEF-C6A8-44D4-ACB7-56DEEE9C2B24}">
      <dgm:prSet/>
      <dgm:spPr/>
      <dgm:t>
        <a:bodyPr/>
        <a:lstStyle/>
        <a:p>
          <a:endParaRPr lang="pt-BR" sz="1800">
            <a:solidFill>
              <a:srgbClr val="035363"/>
            </a:solidFill>
          </a:endParaRPr>
        </a:p>
      </dgm:t>
    </dgm:pt>
    <dgm:pt modelId="{B19B415E-15DF-4AA4-AECB-4050F3A24A7F}" type="sibTrans" cxnId="{B78C7EEF-C6A8-44D4-ACB7-56DEEE9C2B24}">
      <dgm:prSet/>
      <dgm:spPr/>
      <dgm:t>
        <a:bodyPr/>
        <a:lstStyle/>
        <a:p>
          <a:endParaRPr lang="pt-BR" sz="1800">
            <a:solidFill>
              <a:srgbClr val="035363"/>
            </a:solidFill>
          </a:endParaRPr>
        </a:p>
      </dgm:t>
    </dgm:pt>
    <dgm:pt modelId="{247E7D1E-7974-4525-9BD6-98DA2E1E6490}">
      <dgm:prSet phldrT="[Texto]" custT="1"/>
      <dgm:spPr/>
      <dgm:t>
        <a:bodyPr/>
        <a:lstStyle/>
        <a:p>
          <a:r>
            <a:rPr lang="pt-BR" sz="1800" b="0" dirty="0">
              <a:solidFill>
                <a:srgbClr val="006666"/>
              </a:solidFill>
            </a:rPr>
            <a:t>Ser efetivos e consistentes de acordo com a natureza, complexidade, estrutura e missão do órgão ou da entidade pública</a:t>
          </a:r>
        </a:p>
      </dgm:t>
    </dgm:pt>
    <dgm:pt modelId="{6C6FD271-6CEA-434A-A3B4-9495E9FCC7FE}" type="parTrans" cxnId="{4E91EB0C-FA12-46A6-A362-C2195C7C62F6}">
      <dgm:prSet/>
      <dgm:spPr/>
      <dgm:t>
        <a:bodyPr/>
        <a:lstStyle/>
        <a:p>
          <a:endParaRPr lang="pt-BR" sz="1800">
            <a:solidFill>
              <a:srgbClr val="035363"/>
            </a:solidFill>
          </a:endParaRPr>
        </a:p>
      </dgm:t>
    </dgm:pt>
    <dgm:pt modelId="{05ADC71E-6DF5-4AB7-AA4D-8DE23AA75F22}" type="sibTrans" cxnId="{4E91EB0C-FA12-46A6-A362-C2195C7C62F6}">
      <dgm:prSet/>
      <dgm:spPr/>
      <dgm:t>
        <a:bodyPr/>
        <a:lstStyle/>
        <a:p>
          <a:endParaRPr lang="pt-BR" sz="1800">
            <a:solidFill>
              <a:srgbClr val="035363"/>
            </a:solidFill>
          </a:endParaRPr>
        </a:p>
      </dgm:t>
    </dgm:pt>
    <dgm:pt modelId="{6CAB9C41-2910-4A49-828F-F0A95DBEAAC2}">
      <dgm:prSet custT="1"/>
      <dgm:spPr/>
      <dgm:t>
        <a:bodyPr/>
        <a:lstStyle/>
        <a:p>
          <a:r>
            <a:rPr lang="pt-BR" sz="1800" dirty="0">
              <a:solidFill>
                <a:srgbClr val="006666"/>
              </a:solidFill>
            </a:rPr>
            <a:t>Integrar as atividades, planos, ações, políticas, sistemas, recursos e esforços de todos que trabalhem na organização</a:t>
          </a:r>
          <a:endParaRPr lang="pt-BR" sz="1800" b="1" dirty="0">
            <a:solidFill>
              <a:srgbClr val="006666"/>
            </a:solidFill>
          </a:endParaRPr>
        </a:p>
      </dgm:t>
    </dgm:pt>
    <dgm:pt modelId="{CCAE5089-696F-48B3-9830-0E18A71E6F70}" type="parTrans" cxnId="{19BCEE98-1683-4ED4-9D8F-24BF822DC309}">
      <dgm:prSet/>
      <dgm:spPr/>
      <dgm:t>
        <a:bodyPr/>
        <a:lstStyle/>
        <a:p>
          <a:endParaRPr lang="pt-BR" sz="1800">
            <a:solidFill>
              <a:srgbClr val="035363"/>
            </a:solidFill>
          </a:endParaRPr>
        </a:p>
      </dgm:t>
    </dgm:pt>
    <dgm:pt modelId="{E6956859-7444-4C16-AD28-ED60DC740029}" type="sibTrans" cxnId="{19BCEE98-1683-4ED4-9D8F-24BF822DC309}">
      <dgm:prSet/>
      <dgm:spPr/>
      <dgm:t>
        <a:bodyPr/>
        <a:lstStyle/>
        <a:p>
          <a:endParaRPr lang="pt-BR" sz="1800">
            <a:solidFill>
              <a:srgbClr val="035363"/>
            </a:solidFill>
          </a:endParaRPr>
        </a:p>
      </dgm:t>
    </dgm:pt>
    <dgm:pt modelId="{2C6BAD03-4102-4471-9574-55F5E3CA6A4A}">
      <dgm:prSet custT="1"/>
      <dgm:spPr/>
      <dgm:t>
        <a:bodyPr/>
        <a:lstStyle/>
        <a:p>
          <a:r>
            <a:rPr lang="pt-BR" sz="1800" b="0" dirty="0">
              <a:solidFill>
                <a:srgbClr val="006666"/>
              </a:solidFill>
            </a:rPr>
            <a:t>Ser implementados como uma série de ações que permeiam as atividades da organização</a:t>
          </a:r>
        </a:p>
      </dgm:t>
    </dgm:pt>
    <dgm:pt modelId="{455B7850-04CA-47B1-8C08-71D78D139662}" type="parTrans" cxnId="{6A376DD9-94F9-42A2-96DD-7743722EBA47}">
      <dgm:prSet/>
      <dgm:spPr/>
      <dgm:t>
        <a:bodyPr/>
        <a:lstStyle/>
        <a:p>
          <a:endParaRPr lang="pt-BR" sz="1800"/>
        </a:p>
      </dgm:t>
    </dgm:pt>
    <dgm:pt modelId="{ADB21FF3-3D1E-45FD-B385-CCAE7FDE7715}" type="sibTrans" cxnId="{6A376DD9-94F9-42A2-96DD-7743722EBA47}">
      <dgm:prSet/>
      <dgm:spPr/>
      <dgm:t>
        <a:bodyPr/>
        <a:lstStyle/>
        <a:p>
          <a:endParaRPr lang="pt-BR" sz="1800"/>
        </a:p>
      </dgm:t>
    </dgm:pt>
    <dgm:pt modelId="{111E1661-58D0-4314-9738-466641657AD8}">
      <dgm:prSet custT="1"/>
      <dgm:spPr/>
      <dgm:t>
        <a:bodyPr/>
        <a:lstStyle/>
        <a:p>
          <a:r>
            <a:rPr lang="pt-BR" sz="1800" dirty="0">
              <a:solidFill>
                <a:srgbClr val="006666"/>
              </a:solidFill>
            </a:rPr>
            <a:t>Considerar os seguintes componentes: </a:t>
          </a:r>
          <a:r>
            <a:rPr lang="pt-BR" sz="1800" b="1" dirty="0">
              <a:solidFill>
                <a:srgbClr val="006666"/>
              </a:solidFill>
            </a:rPr>
            <a:t>ambiente de controle</a:t>
          </a:r>
          <a:r>
            <a:rPr lang="pt-BR" sz="1800" dirty="0">
              <a:solidFill>
                <a:srgbClr val="006666"/>
              </a:solidFill>
            </a:rPr>
            <a:t>, </a:t>
          </a:r>
          <a:r>
            <a:rPr lang="pt-BR" sz="1800" b="1" dirty="0">
              <a:solidFill>
                <a:srgbClr val="006666"/>
              </a:solidFill>
            </a:rPr>
            <a:t>avaliação de riscos</a:t>
          </a:r>
          <a:r>
            <a:rPr lang="pt-BR" sz="1800" dirty="0">
              <a:solidFill>
                <a:srgbClr val="006666"/>
              </a:solidFill>
            </a:rPr>
            <a:t>, </a:t>
          </a:r>
          <a:r>
            <a:rPr lang="pt-BR" sz="1800" b="1" dirty="0">
              <a:solidFill>
                <a:srgbClr val="006666"/>
              </a:solidFill>
            </a:rPr>
            <a:t>atividade de controle</a:t>
          </a:r>
          <a:r>
            <a:rPr lang="pt-BR" sz="1800" dirty="0">
              <a:solidFill>
                <a:srgbClr val="006666"/>
              </a:solidFill>
            </a:rPr>
            <a:t>, </a:t>
          </a:r>
          <a:r>
            <a:rPr lang="pt-BR" sz="1800" b="1" dirty="0">
              <a:solidFill>
                <a:srgbClr val="006666"/>
              </a:solidFill>
            </a:rPr>
            <a:t>informação e comunicação</a:t>
          </a:r>
          <a:r>
            <a:rPr lang="pt-BR" sz="1800" dirty="0">
              <a:solidFill>
                <a:srgbClr val="006666"/>
              </a:solidFill>
            </a:rPr>
            <a:t>, e </a:t>
          </a:r>
          <a:r>
            <a:rPr lang="pt-BR" sz="1800" b="1" dirty="0">
              <a:solidFill>
                <a:srgbClr val="006666"/>
              </a:solidFill>
            </a:rPr>
            <a:t>monitoramento</a:t>
          </a:r>
        </a:p>
      </dgm:t>
    </dgm:pt>
    <dgm:pt modelId="{CE53DEDE-17D3-4CE1-AF39-80CD38191A53}" type="sibTrans" cxnId="{8D75DDEC-2090-4B21-8C0D-2ABA972118AE}">
      <dgm:prSet/>
      <dgm:spPr/>
      <dgm:t>
        <a:bodyPr/>
        <a:lstStyle/>
        <a:p>
          <a:endParaRPr lang="pt-BR" sz="1800">
            <a:solidFill>
              <a:srgbClr val="035363"/>
            </a:solidFill>
          </a:endParaRPr>
        </a:p>
      </dgm:t>
    </dgm:pt>
    <dgm:pt modelId="{A6A1727E-FB03-4806-9183-B9B26017592E}" type="parTrans" cxnId="{8D75DDEC-2090-4B21-8C0D-2ABA972118AE}">
      <dgm:prSet/>
      <dgm:spPr/>
      <dgm:t>
        <a:bodyPr/>
        <a:lstStyle/>
        <a:p>
          <a:endParaRPr lang="pt-BR" sz="1800">
            <a:solidFill>
              <a:srgbClr val="035363"/>
            </a:solidFill>
          </a:endParaRPr>
        </a:p>
      </dgm:t>
    </dgm:pt>
    <dgm:pt modelId="{122731EB-58BF-4293-9C34-10965B9C0F5A}">
      <dgm:prSet custT="1"/>
      <dgm:spPr/>
      <dgm:t>
        <a:bodyPr/>
        <a:lstStyle/>
        <a:p>
          <a:r>
            <a:rPr lang="pt-BR" sz="1800" b="0" dirty="0">
              <a:solidFill>
                <a:srgbClr val="006666"/>
              </a:solidFill>
            </a:rPr>
            <a:t>Basear-se no gerenciamento de riscos</a:t>
          </a:r>
          <a:endParaRPr lang="pt-BR" sz="1800" b="1" dirty="0">
            <a:solidFill>
              <a:srgbClr val="006666"/>
            </a:solidFill>
          </a:endParaRPr>
        </a:p>
      </dgm:t>
    </dgm:pt>
    <dgm:pt modelId="{20F5B176-15B8-4B9E-9E48-6A9FF579EB19}" type="parTrans" cxnId="{BD52814D-9DC5-402D-B43A-5832B95E23C0}">
      <dgm:prSet/>
      <dgm:spPr/>
      <dgm:t>
        <a:bodyPr/>
        <a:lstStyle/>
        <a:p>
          <a:endParaRPr lang="pt-BR" sz="1800"/>
        </a:p>
      </dgm:t>
    </dgm:pt>
    <dgm:pt modelId="{F801F298-A071-4624-BB40-1F295CF583BD}" type="sibTrans" cxnId="{BD52814D-9DC5-402D-B43A-5832B95E23C0}">
      <dgm:prSet/>
      <dgm:spPr/>
      <dgm:t>
        <a:bodyPr/>
        <a:lstStyle/>
        <a:p>
          <a:endParaRPr lang="pt-BR" sz="1800"/>
        </a:p>
      </dgm:t>
    </dgm:pt>
    <dgm:pt modelId="{08545870-7505-4F1B-8F29-FE09BDE825DB}" type="pres">
      <dgm:prSet presAssocID="{64D6D53B-36A0-4945-9275-B4E61B410043}" presName="vert0" presStyleCnt="0">
        <dgm:presLayoutVars>
          <dgm:dir/>
          <dgm:animOne val="branch"/>
          <dgm:animLvl val="lvl"/>
        </dgm:presLayoutVars>
      </dgm:prSet>
      <dgm:spPr/>
    </dgm:pt>
    <dgm:pt modelId="{C8378F11-969F-41F7-A4C4-9D4793F0A247}" type="pres">
      <dgm:prSet presAssocID="{5F7B2B33-15E5-4AF6-B190-E0D8287E2026}" presName="thickLine" presStyleLbl="alignNode1" presStyleIdx="0" presStyleCnt="1"/>
      <dgm:spPr/>
    </dgm:pt>
    <dgm:pt modelId="{4F5ABA25-8AB5-4C6D-B309-02069B42DF71}" type="pres">
      <dgm:prSet presAssocID="{5F7B2B33-15E5-4AF6-B190-E0D8287E2026}" presName="horz1" presStyleCnt="0"/>
      <dgm:spPr/>
    </dgm:pt>
    <dgm:pt modelId="{733976AF-4486-4666-BAFC-9BB52954458E}" type="pres">
      <dgm:prSet presAssocID="{5F7B2B33-15E5-4AF6-B190-E0D8287E2026}" presName="tx1" presStyleLbl="revTx" presStyleIdx="0" presStyleCnt="6"/>
      <dgm:spPr/>
    </dgm:pt>
    <dgm:pt modelId="{E48A8F7E-EB48-4C48-AA9A-4A526FB1E7A1}" type="pres">
      <dgm:prSet presAssocID="{5F7B2B33-15E5-4AF6-B190-E0D8287E2026}" presName="vert1" presStyleCnt="0"/>
      <dgm:spPr/>
    </dgm:pt>
    <dgm:pt modelId="{E2B57BF2-9CCF-4D46-ADF4-0D0F45A4CA52}" type="pres">
      <dgm:prSet presAssocID="{247E7D1E-7974-4525-9BD6-98DA2E1E6490}" presName="vertSpace2a" presStyleCnt="0"/>
      <dgm:spPr/>
    </dgm:pt>
    <dgm:pt modelId="{5BAD9535-487A-4777-B4D4-65C477006F5E}" type="pres">
      <dgm:prSet presAssocID="{247E7D1E-7974-4525-9BD6-98DA2E1E6490}" presName="horz2" presStyleCnt="0"/>
      <dgm:spPr/>
    </dgm:pt>
    <dgm:pt modelId="{2F8438B8-B559-47FB-97C4-D30A6D98D55F}" type="pres">
      <dgm:prSet presAssocID="{247E7D1E-7974-4525-9BD6-98DA2E1E6490}" presName="horzSpace2" presStyleCnt="0"/>
      <dgm:spPr/>
    </dgm:pt>
    <dgm:pt modelId="{8DFE91C9-6768-4F8B-8418-7C1AC569E128}" type="pres">
      <dgm:prSet presAssocID="{247E7D1E-7974-4525-9BD6-98DA2E1E6490}" presName="tx2" presStyleLbl="revTx" presStyleIdx="1" presStyleCnt="6"/>
      <dgm:spPr/>
    </dgm:pt>
    <dgm:pt modelId="{FCE23E84-3468-4DC8-BE51-0567B0F1F554}" type="pres">
      <dgm:prSet presAssocID="{247E7D1E-7974-4525-9BD6-98DA2E1E6490}" presName="vert2" presStyleCnt="0"/>
      <dgm:spPr/>
    </dgm:pt>
    <dgm:pt modelId="{55CA98C9-6860-4735-9B8E-406FD21FA5D6}" type="pres">
      <dgm:prSet presAssocID="{247E7D1E-7974-4525-9BD6-98DA2E1E6490}" presName="thinLine2b" presStyleLbl="callout" presStyleIdx="0" presStyleCnt="5"/>
      <dgm:spPr/>
    </dgm:pt>
    <dgm:pt modelId="{BFD87DCA-5079-4F9A-A95E-72FC08EABD7F}" type="pres">
      <dgm:prSet presAssocID="{247E7D1E-7974-4525-9BD6-98DA2E1E6490}" presName="vertSpace2b" presStyleCnt="0"/>
      <dgm:spPr/>
    </dgm:pt>
    <dgm:pt modelId="{1B9B2C26-536C-4C41-888E-6ED583E733AF}" type="pres">
      <dgm:prSet presAssocID="{111E1661-58D0-4314-9738-466641657AD8}" presName="horz2" presStyleCnt="0"/>
      <dgm:spPr/>
    </dgm:pt>
    <dgm:pt modelId="{8463CBB6-632F-4CA9-856B-52AD88147F2D}" type="pres">
      <dgm:prSet presAssocID="{111E1661-58D0-4314-9738-466641657AD8}" presName="horzSpace2" presStyleCnt="0"/>
      <dgm:spPr/>
    </dgm:pt>
    <dgm:pt modelId="{071D754C-8A28-4F5A-AABB-ACEF8ED73C56}" type="pres">
      <dgm:prSet presAssocID="{111E1661-58D0-4314-9738-466641657AD8}" presName="tx2" presStyleLbl="revTx" presStyleIdx="2" presStyleCnt="6"/>
      <dgm:spPr/>
    </dgm:pt>
    <dgm:pt modelId="{28E30DC1-EF4C-4E23-B8E3-BAC7923A0EB7}" type="pres">
      <dgm:prSet presAssocID="{111E1661-58D0-4314-9738-466641657AD8}" presName="vert2" presStyleCnt="0"/>
      <dgm:spPr/>
    </dgm:pt>
    <dgm:pt modelId="{E3A4040E-11D5-46EC-ABC4-25831E890EC7}" type="pres">
      <dgm:prSet presAssocID="{111E1661-58D0-4314-9738-466641657AD8}" presName="thinLine2b" presStyleLbl="callout" presStyleIdx="1" presStyleCnt="5" custLinFactY="196837" custLinFactNeighborX="-36" custLinFactNeighborY="200000"/>
      <dgm:spPr/>
    </dgm:pt>
    <dgm:pt modelId="{F33F747C-0189-4D3D-932F-FBE3B2BACF1F}" type="pres">
      <dgm:prSet presAssocID="{111E1661-58D0-4314-9738-466641657AD8}" presName="vertSpace2b" presStyleCnt="0"/>
      <dgm:spPr/>
    </dgm:pt>
    <dgm:pt modelId="{8B36322C-96B9-4429-86BA-1A07B529821E}" type="pres">
      <dgm:prSet presAssocID="{122731EB-58BF-4293-9C34-10965B9C0F5A}" presName="horz2" presStyleCnt="0"/>
      <dgm:spPr/>
    </dgm:pt>
    <dgm:pt modelId="{87EF4CF9-ED96-4CF1-BF29-8B6B9FA33A5E}" type="pres">
      <dgm:prSet presAssocID="{122731EB-58BF-4293-9C34-10965B9C0F5A}" presName="horzSpace2" presStyleCnt="0"/>
      <dgm:spPr/>
    </dgm:pt>
    <dgm:pt modelId="{B3FC9470-4809-4E24-9421-2697BA18B3FD}" type="pres">
      <dgm:prSet presAssocID="{122731EB-58BF-4293-9C34-10965B9C0F5A}" presName="tx2" presStyleLbl="revTx" presStyleIdx="3" presStyleCnt="6" custLinFactNeighborX="-6" custLinFactNeighborY="19286"/>
      <dgm:spPr/>
    </dgm:pt>
    <dgm:pt modelId="{0CC87DAE-F48F-4EAE-97D6-824F42A63BB3}" type="pres">
      <dgm:prSet presAssocID="{122731EB-58BF-4293-9C34-10965B9C0F5A}" presName="vert2" presStyleCnt="0"/>
      <dgm:spPr/>
    </dgm:pt>
    <dgm:pt modelId="{05562624-EDA3-41D6-8F15-9418CC558773}" type="pres">
      <dgm:prSet presAssocID="{122731EB-58BF-4293-9C34-10965B9C0F5A}" presName="thinLine2b" presStyleLbl="callout" presStyleIdx="2" presStyleCnt="5"/>
      <dgm:spPr/>
    </dgm:pt>
    <dgm:pt modelId="{15E4D34B-CDDD-45C9-944E-52BF1A7EF206}" type="pres">
      <dgm:prSet presAssocID="{122731EB-58BF-4293-9C34-10965B9C0F5A}" presName="vertSpace2b" presStyleCnt="0"/>
      <dgm:spPr/>
    </dgm:pt>
    <dgm:pt modelId="{E4630ECA-5C6B-4F0A-9828-98CA84020E40}" type="pres">
      <dgm:prSet presAssocID="{6CAB9C41-2910-4A49-828F-F0A95DBEAAC2}" presName="horz2" presStyleCnt="0"/>
      <dgm:spPr/>
    </dgm:pt>
    <dgm:pt modelId="{F1452320-FD51-45AD-8F79-C7377FBD05B3}" type="pres">
      <dgm:prSet presAssocID="{6CAB9C41-2910-4A49-828F-F0A95DBEAAC2}" presName="horzSpace2" presStyleCnt="0"/>
      <dgm:spPr/>
    </dgm:pt>
    <dgm:pt modelId="{25CC8108-7B1F-4CB7-8F6D-FB1532DDD230}" type="pres">
      <dgm:prSet presAssocID="{6CAB9C41-2910-4A49-828F-F0A95DBEAAC2}" presName="tx2" presStyleLbl="revTx" presStyleIdx="4" presStyleCnt="6"/>
      <dgm:spPr/>
    </dgm:pt>
    <dgm:pt modelId="{CD879237-7C84-4589-AD23-116E96046716}" type="pres">
      <dgm:prSet presAssocID="{6CAB9C41-2910-4A49-828F-F0A95DBEAAC2}" presName="vert2" presStyleCnt="0"/>
      <dgm:spPr/>
    </dgm:pt>
    <dgm:pt modelId="{47C74D37-CDC1-4C32-AE2D-FBA84F52E745}" type="pres">
      <dgm:prSet presAssocID="{6CAB9C41-2910-4A49-828F-F0A95DBEAAC2}" presName="thinLine2b" presStyleLbl="callout" presStyleIdx="3" presStyleCnt="5"/>
      <dgm:spPr/>
    </dgm:pt>
    <dgm:pt modelId="{0C9028C9-2BA1-47CF-AEE3-15A3BE318B77}" type="pres">
      <dgm:prSet presAssocID="{6CAB9C41-2910-4A49-828F-F0A95DBEAAC2}" presName="vertSpace2b" presStyleCnt="0"/>
      <dgm:spPr/>
    </dgm:pt>
    <dgm:pt modelId="{B1FAD80D-1B54-4D55-8E7F-BBAF568826EB}" type="pres">
      <dgm:prSet presAssocID="{2C6BAD03-4102-4471-9574-55F5E3CA6A4A}" presName="horz2" presStyleCnt="0"/>
      <dgm:spPr/>
    </dgm:pt>
    <dgm:pt modelId="{9A9DA9B2-383D-4327-9FF1-5E27CA113F0B}" type="pres">
      <dgm:prSet presAssocID="{2C6BAD03-4102-4471-9574-55F5E3CA6A4A}" presName="horzSpace2" presStyleCnt="0"/>
      <dgm:spPr/>
    </dgm:pt>
    <dgm:pt modelId="{5D52575D-D80F-4C87-9651-79D93E6CC4CB}" type="pres">
      <dgm:prSet presAssocID="{2C6BAD03-4102-4471-9574-55F5E3CA6A4A}" presName="tx2" presStyleLbl="revTx" presStyleIdx="5" presStyleCnt="6"/>
      <dgm:spPr/>
    </dgm:pt>
    <dgm:pt modelId="{E29D72D4-FAEE-4B96-8624-70B38E2CB403}" type="pres">
      <dgm:prSet presAssocID="{2C6BAD03-4102-4471-9574-55F5E3CA6A4A}" presName="vert2" presStyleCnt="0"/>
      <dgm:spPr/>
    </dgm:pt>
    <dgm:pt modelId="{53A519FD-2A47-423E-B753-2FE23F2CB963}" type="pres">
      <dgm:prSet presAssocID="{2C6BAD03-4102-4471-9574-55F5E3CA6A4A}" presName="thinLine2b" presStyleLbl="callout" presStyleIdx="4" presStyleCnt="5"/>
      <dgm:spPr/>
    </dgm:pt>
    <dgm:pt modelId="{01EDCECC-23DD-42A7-A19C-C2B30F66DC7D}" type="pres">
      <dgm:prSet presAssocID="{2C6BAD03-4102-4471-9574-55F5E3CA6A4A}" presName="vertSpace2b" presStyleCnt="0"/>
      <dgm:spPr/>
    </dgm:pt>
  </dgm:ptLst>
  <dgm:cxnLst>
    <dgm:cxn modelId="{4E91EB0C-FA12-46A6-A362-C2195C7C62F6}" srcId="{5F7B2B33-15E5-4AF6-B190-E0D8287E2026}" destId="{247E7D1E-7974-4525-9BD6-98DA2E1E6490}" srcOrd="0" destOrd="0" parTransId="{6C6FD271-6CEA-434A-A3B4-9495E9FCC7FE}" sibTransId="{05ADC71E-6DF5-4AB7-AA4D-8DE23AA75F22}"/>
    <dgm:cxn modelId="{BD52814D-9DC5-402D-B43A-5832B95E23C0}" srcId="{5F7B2B33-15E5-4AF6-B190-E0D8287E2026}" destId="{122731EB-58BF-4293-9C34-10965B9C0F5A}" srcOrd="2" destOrd="0" parTransId="{20F5B176-15B8-4B9E-9E48-6A9FF579EB19}" sibTransId="{F801F298-A071-4624-BB40-1F295CF583BD}"/>
    <dgm:cxn modelId="{418E5C94-687F-4FF5-B27D-43EB5FE4063B}" type="presOf" srcId="{64D6D53B-36A0-4945-9275-B4E61B410043}" destId="{08545870-7505-4F1B-8F29-FE09BDE825DB}" srcOrd="0" destOrd="0" presId="urn:microsoft.com/office/officeart/2008/layout/LinedList"/>
    <dgm:cxn modelId="{19BCEE98-1683-4ED4-9D8F-24BF822DC309}" srcId="{5F7B2B33-15E5-4AF6-B190-E0D8287E2026}" destId="{6CAB9C41-2910-4A49-828F-F0A95DBEAAC2}" srcOrd="3" destOrd="0" parTransId="{CCAE5089-696F-48B3-9830-0E18A71E6F70}" sibTransId="{E6956859-7444-4C16-AD28-ED60DC740029}"/>
    <dgm:cxn modelId="{554DCAC7-C9ED-4A62-9B09-94AD3BFE5A87}" type="presOf" srcId="{6CAB9C41-2910-4A49-828F-F0A95DBEAAC2}" destId="{25CC8108-7B1F-4CB7-8F6D-FB1532DDD230}" srcOrd="0" destOrd="0" presId="urn:microsoft.com/office/officeart/2008/layout/LinedList"/>
    <dgm:cxn modelId="{2A747ACB-BC76-4826-9C9D-3A08742E1095}" type="presOf" srcId="{122731EB-58BF-4293-9C34-10965B9C0F5A}" destId="{B3FC9470-4809-4E24-9421-2697BA18B3FD}" srcOrd="0" destOrd="0" presId="urn:microsoft.com/office/officeart/2008/layout/LinedList"/>
    <dgm:cxn modelId="{6A376DD9-94F9-42A2-96DD-7743722EBA47}" srcId="{5F7B2B33-15E5-4AF6-B190-E0D8287E2026}" destId="{2C6BAD03-4102-4471-9574-55F5E3CA6A4A}" srcOrd="4" destOrd="0" parTransId="{455B7850-04CA-47B1-8C08-71D78D139662}" sibTransId="{ADB21FF3-3D1E-45FD-B385-CCAE7FDE7715}"/>
    <dgm:cxn modelId="{7B2853DD-146F-4475-B847-B8653113B1BD}" type="presOf" srcId="{247E7D1E-7974-4525-9BD6-98DA2E1E6490}" destId="{8DFE91C9-6768-4F8B-8418-7C1AC569E128}" srcOrd="0" destOrd="0" presId="urn:microsoft.com/office/officeart/2008/layout/LinedList"/>
    <dgm:cxn modelId="{5A40D1EB-5FDD-4CB1-B368-7D914BFE2AB1}" type="presOf" srcId="{111E1661-58D0-4314-9738-466641657AD8}" destId="{071D754C-8A28-4F5A-AABB-ACEF8ED73C56}" srcOrd="0" destOrd="0" presId="urn:microsoft.com/office/officeart/2008/layout/LinedList"/>
    <dgm:cxn modelId="{8D75DDEC-2090-4B21-8C0D-2ABA972118AE}" srcId="{5F7B2B33-15E5-4AF6-B190-E0D8287E2026}" destId="{111E1661-58D0-4314-9738-466641657AD8}" srcOrd="1" destOrd="0" parTransId="{A6A1727E-FB03-4806-9183-B9B26017592E}" sibTransId="{CE53DEDE-17D3-4CE1-AF39-80CD38191A53}"/>
    <dgm:cxn modelId="{B78C7EEF-C6A8-44D4-ACB7-56DEEE9C2B24}" srcId="{64D6D53B-36A0-4945-9275-B4E61B410043}" destId="{5F7B2B33-15E5-4AF6-B190-E0D8287E2026}" srcOrd="0" destOrd="0" parTransId="{993EEDBB-7AD2-40FB-942C-C80BD97FFD7C}" sibTransId="{B19B415E-15DF-4AA4-AECB-4050F3A24A7F}"/>
    <dgm:cxn modelId="{E70F19F2-D196-43A8-93EA-51313AE7C956}" type="presOf" srcId="{5F7B2B33-15E5-4AF6-B190-E0D8287E2026}" destId="{733976AF-4486-4666-BAFC-9BB52954458E}" srcOrd="0" destOrd="0" presId="urn:microsoft.com/office/officeart/2008/layout/LinedList"/>
    <dgm:cxn modelId="{5A8E16FD-C809-4535-80F8-06110D0ADC94}" type="presOf" srcId="{2C6BAD03-4102-4471-9574-55F5E3CA6A4A}" destId="{5D52575D-D80F-4C87-9651-79D93E6CC4CB}" srcOrd="0" destOrd="0" presId="urn:microsoft.com/office/officeart/2008/layout/LinedList"/>
    <dgm:cxn modelId="{F51B5690-5378-4A7E-B543-2DD073254366}" type="presParOf" srcId="{08545870-7505-4F1B-8F29-FE09BDE825DB}" destId="{C8378F11-969F-41F7-A4C4-9D4793F0A247}" srcOrd="0" destOrd="0" presId="urn:microsoft.com/office/officeart/2008/layout/LinedList"/>
    <dgm:cxn modelId="{0E604456-20B6-491F-B282-A953EDBE2E95}" type="presParOf" srcId="{08545870-7505-4F1B-8F29-FE09BDE825DB}" destId="{4F5ABA25-8AB5-4C6D-B309-02069B42DF71}" srcOrd="1" destOrd="0" presId="urn:microsoft.com/office/officeart/2008/layout/LinedList"/>
    <dgm:cxn modelId="{F10F9C80-FA75-44CE-882E-D45A6C9C0BCB}" type="presParOf" srcId="{4F5ABA25-8AB5-4C6D-B309-02069B42DF71}" destId="{733976AF-4486-4666-BAFC-9BB52954458E}" srcOrd="0" destOrd="0" presId="urn:microsoft.com/office/officeart/2008/layout/LinedList"/>
    <dgm:cxn modelId="{77E00582-91EB-441B-84B3-77C819AE8833}" type="presParOf" srcId="{4F5ABA25-8AB5-4C6D-B309-02069B42DF71}" destId="{E48A8F7E-EB48-4C48-AA9A-4A526FB1E7A1}" srcOrd="1" destOrd="0" presId="urn:microsoft.com/office/officeart/2008/layout/LinedList"/>
    <dgm:cxn modelId="{549142B2-CAED-490B-B51E-A22574E7749B}" type="presParOf" srcId="{E48A8F7E-EB48-4C48-AA9A-4A526FB1E7A1}" destId="{E2B57BF2-9CCF-4D46-ADF4-0D0F45A4CA52}" srcOrd="0" destOrd="0" presId="urn:microsoft.com/office/officeart/2008/layout/LinedList"/>
    <dgm:cxn modelId="{D537E602-4632-47F2-8206-FBD6AC8C45B2}" type="presParOf" srcId="{E48A8F7E-EB48-4C48-AA9A-4A526FB1E7A1}" destId="{5BAD9535-487A-4777-B4D4-65C477006F5E}" srcOrd="1" destOrd="0" presId="urn:microsoft.com/office/officeart/2008/layout/LinedList"/>
    <dgm:cxn modelId="{EEE01DD1-2484-4BDE-BA6F-6676918534D4}" type="presParOf" srcId="{5BAD9535-487A-4777-B4D4-65C477006F5E}" destId="{2F8438B8-B559-47FB-97C4-D30A6D98D55F}" srcOrd="0" destOrd="0" presId="urn:microsoft.com/office/officeart/2008/layout/LinedList"/>
    <dgm:cxn modelId="{4036965F-285F-43A5-80AB-BC97F95DCB30}" type="presParOf" srcId="{5BAD9535-487A-4777-B4D4-65C477006F5E}" destId="{8DFE91C9-6768-4F8B-8418-7C1AC569E128}" srcOrd="1" destOrd="0" presId="urn:microsoft.com/office/officeart/2008/layout/LinedList"/>
    <dgm:cxn modelId="{88A17374-EEDC-445F-99C2-B66845907B5A}" type="presParOf" srcId="{5BAD9535-487A-4777-B4D4-65C477006F5E}" destId="{FCE23E84-3468-4DC8-BE51-0567B0F1F554}" srcOrd="2" destOrd="0" presId="urn:microsoft.com/office/officeart/2008/layout/LinedList"/>
    <dgm:cxn modelId="{25B3AB5D-F536-4A1A-8A79-5772A32166D6}" type="presParOf" srcId="{E48A8F7E-EB48-4C48-AA9A-4A526FB1E7A1}" destId="{55CA98C9-6860-4735-9B8E-406FD21FA5D6}" srcOrd="2" destOrd="0" presId="urn:microsoft.com/office/officeart/2008/layout/LinedList"/>
    <dgm:cxn modelId="{3D2782D1-062E-4391-8F00-780D46ED7DCF}" type="presParOf" srcId="{E48A8F7E-EB48-4C48-AA9A-4A526FB1E7A1}" destId="{BFD87DCA-5079-4F9A-A95E-72FC08EABD7F}" srcOrd="3" destOrd="0" presId="urn:microsoft.com/office/officeart/2008/layout/LinedList"/>
    <dgm:cxn modelId="{65CAC4DB-C0BC-4284-90DA-B09AD48805F1}" type="presParOf" srcId="{E48A8F7E-EB48-4C48-AA9A-4A526FB1E7A1}" destId="{1B9B2C26-536C-4C41-888E-6ED583E733AF}" srcOrd="4" destOrd="0" presId="urn:microsoft.com/office/officeart/2008/layout/LinedList"/>
    <dgm:cxn modelId="{2D8BBFF0-9F30-4BAF-8202-46C1ADEABA8C}" type="presParOf" srcId="{1B9B2C26-536C-4C41-888E-6ED583E733AF}" destId="{8463CBB6-632F-4CA9-856B-52AD88147F2D}" srcOrd="0" destOrd="0" presId="urn:microsoft.com/office/officeart/2008/layout/LinedList"/>
    <dgm:cxn modelId="{DD9FB82F-E11F-4304-8FF8-3569F1EF8F27}" type="presParOf" srcId="{1B9B2C26-536C-4C41-888E-6ED583E733AF}" destId="{071D754C-8A28-4F5A-AABB-ACEF8ED73C56}" srcOrd="1" destOrd="0" presId="urn:microsoft.com/office/officeart/2008/layout/LinedList"/>
    <dgm:cxn modelId="{6DE620E1-457F-4711-BCEE-68F41DBB0801}" type="presParOf" srcId="{1B9B2C26-536C-4C41-888E-6ED583E733AF}" destId="{28E30DC1-EF4C-4E23-B8E3-BAC7923A0EB7}" srcOrd="2" destOrd="0" presId="urn:microsoft.com/office/officeart/2008/layout/LinedList"/>
    <dgm:cxn modelId="{A0D60165-953C-49B8-ACE8-639C50AFB95C}" type="presParOf" srcId="{E48A8F7E-EB48-4C48-AA9A-4A526FB1E7A1}" destId="{E3A4040E-11D5-46EC-ABC4-25831E890EC7}" srcOrd="5" destOrd="0" presId="urn:microsoft.com/office/officeart/2008/layout/LinedList"/>
    <dgm:cxn modelId="{6DD85323-CFA7-4347-A248-C6005F6CC22A}" type="presParOf" srcId="{E48A8F7E-EB48-4C48-AA9A-4A526FB1E7A1}" destId="{F33F747C-0189-4D3D-932F-FBE3B2BACF1F}" srcOrd="6" destOrd="0" presId="urn:microsoft.com/office/officeart/2008/layout/LinedList"/>
    <dgm:cxn modelId="{06758ED5-07BF-4737-9273-D2783E57242B}" type="presParOf" srcId="{E48A8F7E-EB48-4C48-AA9A-4A526FB1E7A1}" destId="{8B36322C-96B9-4429-86BA-1A07B529821E}" srcOrd="7" destOrd="0" presId="urn:microsoft.com/office/officeart/2008/layout/LinedList"/>
    <dgm:cxn modelId="{AED2438B-09F5-426A-AA1C-26D3029AA1E7}" type="presParOf" srcId="{8B36322C-96B9-4429-86BA-1A07B529821E}" destId="{87EF4CF9-ED96-4CF1-BF29-8B6B9FA33A5E}" srcOrd="0" destOrd="0" presId="urn:microsoft.com/office/officeart/2008/layout/LinedList"/>
    <dgm:cxn modelId="{14C7CBFA-83D7-441B-9F7E-407F6143DDB6}" type="presParOf" srcId="{8B36322C-96B9-4429-86BA-1A07B529821E}" destId="{B3FC9470-4809-4E24-9421-2697BA18B3FD}" srcOrd="1" destOrd="0" presId="urn:microsoft.com/office/officeart/2008/layout/LinedList"/>
    <dgm:cxn modelId="{0A230F0E-9AE0-4D20-B5D0-487E16A0C606}" type="presParOf" srcId="{8B36322C-96B9-4429-86BA-1A07B529821E}" destId="{0CC87DAE-F48F-4EAE-97D6-824F42A63BB3}" srcOrd="2" destOrd="0" presId="urn:microsoft.com/office/officeart/2008/layout/LinedList"/>
    <dgm:cxn modelId="{D14ECB1E-3837-47A6-8978-B6EAB8419277}" type="presParOf" srcId="{E48A8F7E-EB48-4C48-AA9A-4A526FB1E7A1}" destId="{05562624-EDA3-41D6-8F15-9418CC558773}" srcOrd="8" destOrd="0" presId="urn:microsoft.com/office/officeart/2008/layout/LinedList"/>
    <dgm:cxn modelId="{3C211066-B860-44E2-A89D-FF04B581EE74}" type="presParOf" srcId="{E48A8F7E-EB48-4C48-AA9A-4A526FB1E7A1}" destId="{15E4D34B-CDDD-45C9-944E-52BF1A7EF206}" srcOrd="9" destOrd="0" presId="urn:microsoft.com/office/officeart/2008/layout/LinedList"/>
    <dgm:cxn modelId="{C5B60AB9-725B-40C7-A073-911BC6EC5D1C}" type="presParOf" srcId="{E48A8F7E-EB48-4C48-AA9A-4A526FB1E7A1}" destId="{E4630ECA-5C6B-4F0A-9828-98CA84020E40}" srcOrd="10" destOrd="0" presId="urn:microsoft.com/office/officeart/2008/layout/LinedList"/>
    <dgm:cxn modelId="{89025FF2-D57A-408C-AF7C-8E4A5ECE877D}" type="presParOf" srcId="{E4630ECA-5C6B-4F0A-9828-98CA84020E40}" destId="{F1452320-FD51-45AD-8F79-C7377FBD05B3}" srcOrd="0" destOrd="0" presId="urn:microsoft.com/office/officeart/2008/layout/LinedList"/>
    <dgm:cxn modelId="{9CC4D582-9682-4F8D-BCAE-82E7AAC08BED}" type="presParOf" srcId="{E4630ECA-5C6B-4F0A-9828-98CA84020E40}" destId="{25CC8108-7B1F-4CB7-8F6D-FB1532DDD230}" srcOrd="1" destOrd="0" presId="urn:microsoft.com/office/officeart/2008/layout/LinedList"/>
    <dgm:cxn modelId="{4A1F526E-945E-42BD-A204-8D9D4946A9B0}" type="presParOf" srcId="{E4630ECA-5C6B-4F0A-9828-98CA84020E40}" destId="{CD879237-7C84-4589-AD23-116E96046716}" srcOrd="2" destOrd="0" presId="urn:microsoft.com/office/officeart/2008/layout/LinedList"/>
    <dgm:cxn modelId="{E7BF260F-426B-4AB3-B973-4EE70A759594}" type="presParOf" srcId="{E48A8F7E-EB48-4C48-AA9A-4A526FB1E7A1}" destId="{47C74D37-CDC1-4C32-AE2D-FBA84F52E745}" srcOrd="11" destOrd="0" presId="urn:microsoft.com/office/officeart/2008/layout/LinedList"/>
    <dgm:cxn modelId="{ED6A423A-DAE6-4B23-993E-8130B82C4890}" type="presParOf" srcId="{E48A8F7E-EB48-4C48-AA9A-4A526FB1E7A1}" destId="{0C9028C9-2BA1-47CF-AEE3-15A3BE318B77}" srcOrd="12" destOrd="0" presId="urn:microsoft.com/office/officeart/2008/layout/LinedList"/>
    <dgm:cxn modelId="{65679F63-B86B-4D48-83A3-2B040255A3FE}" type="presParOf" srcId="{E48A8F7E-EB48-4C48-AA9A-4A526FB1E7A1}" destId="{B1FAD80D-1B54-4D55-8E7F-BBAF568826EB}" srcOrd="13" destOrd="0" presId="urn:microsoft.com/office/officeart/2008/layout/LinedList"/>
    <dgm:cxn modelId="{193DC1E2-0EE1-4219-82F5-A08DDEA9DC55}" type="presParOf" srcId="{B1FAD80D-1B54-4D55-8E7F-BBAF568826EB}" destId="{9A9DA9B2-383D-4327-9FF1-5E27CA113F0B}" srcOrd="0" destOrd="0" presId="urn:microsoft.com/office/officeart/2008/layout/LinedList"/>
    <dgm:cxn modelId="{D64C9DD7-AC1A-4348-A8E6-712D4662FFCF}" type="presParOf" srcId="{B1FAD80D-1B54-4D55-8E7F-BBAF568826EB}" destId="{5D52575D-D80F-4C87-9651-79D93E6CC4CB}" srcOrd="1" destOrd="0" presId="urn:microsoft.com/office/officeart/2008/layout/LinedList"/>
    <dgm:cxn modelId="{5231C3FF-C46D-4B50-A55B-9E1166F73055}" type="presParOf" srcId="{B1FAD80D-1B54-4D55-8E7F-BBAF568826EB}" destId="{E29D72D4-FAEE-4B96-8624-70B38E2CB403}" srcOrd="2" destOrd="0" presId="urn:microsoft.com/office/officeart/2008/layout/LinedList"/>
    <dgm:cxn modelId="{3D763131-81B4-49C4-8ECE-A82B13E399C8}" type="presParOf" srcId="{E48A8F7E-EB48-4C48-AA9A-4A526FB1E7A1}" destId="{53A519FD-2A47-423E-B753-2FE23F2CB963}" srcOrd="14" destOrd="0" presId="urn:microsoft.com/office/officeart/2008/layout/LinedList"/>
    <dgm:cxn modelId="{15392E9D-4EBE-419D-8CD7-9CBE2078007A}" type="presParOf" srcId="{E48A8F7E-EB48-4C48-AA9A-4A526FB1E7A1}" destId="{01EDCECC-23DD-42A7-A19C-C2B30F66DC7D}" srcOrd="15" destOrd="0" presId="urn:microsoft.com/office/officeart/2008/layout/LinedList"/>
  </dgm:cxnLst>
  <dgm:bg>
    <a:noFill/>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B7616058-620C-435B-970B-A70848915555}"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pt-BR"/>
        </a:p>
      </dgm:t>
    </dgm:pt>
    <dgm:pt modelId="{40C5CDAE-5127-4C9D-B38F-936D4836AFFB}">
      <dgm:prSet phldrT="[Texto]" custT="1"/>
      <dgm:spPr/>
      <dgm:t>
        <a:bodyPr/>
        <a:lstStyle/>
        <a:p>
          <a:r>
            <a:rPr lang="pt-BR" sz="1800" b="0" dirty="0">
              <a:solidFill>
                <a:srgbClr val="035363"/>
              </a:solidFill>
            </a:rPr>
            <a:t>devem assegurar que os  procedimentos de </a:t>
          </a:r>
          <a:r>
            <a:rPr lang="pt-BR" sz="1800" b="0" u="sng" dirty="0">
              <a:solidFill>
                <a:srgbClr val="035363"/>
              </a:solidFill>
            </a:rPr>
            <a:t>implementação de controles internos façam parte das práticas de gerenciamento de riscos</a:t>
          </a:r>
          <a:endParaRPr lang="pt-BR" sz="1800" b="0" u="sng" dirty="0"/>
        </a:p>
      </dgm:t>
    </dgm:pt>
    <dgm:pt modelId="{00160A38-5E06-431B-BE5B-F3CFC9A1A68D}" type="parTrans" cxnId="{006EA31C-867B-4DED-B7A1-4A3F4D9AD1C3}">
      <dgm:prSet/>
      <dgm:spPr/>
      <dgm:t>
        <a:bodyPr/>
        <a:lstStyle/>
        <a:p>
          <a:endParaRPr lang="pt-BR"/>
        </a:p>
      </dgm:t>
    </dgm:pt>
    <dgm:pt modelId="{3D2B67C4-7E89-47B0-9F15-B6FF68F5B5EB}" type="sibTrans" cxnId="{006EA31C-867B-4DED-B7A1-4A3F4D9AD1C3}">
      <dgm:prSet/>
      <dgm:spPr/>
      <dgm:t>
        <a:bodyPr/>
        <a:lstStyle/>
        <a:p>
          <a:endParaRPr lang="pt-BR"/>
        </a:p>
      </dgm:t>
    </dgm:pt>
    <dgm:pt modelId="{3F0AB833-B994-46F4-A782-369EABAE6939}">
      <dgm:prSet phldrT="[Texto]" custT="1"/>
      <dgm:spPr/>
      <dgm:t>
        <a:bodyPr/>
        <a:lstStyle/>
        <a:p>
          <a:r>
            <a:rPr lang="pt-BR" sz="1800" b="0" dirty="0">
              <a:solidFill>
                <a:srgbClr val="035363"/>
              </a:solidFill>
            </a:rPr>
            <a:t>podem </a:t>
          </a:r>
          <a:r>
            <a:rPr lang="pt-BR" sz="1800" b="0" u="sng" dirty="0">
              <a:solidFill>
                <a:srgbClr val="035363"/>
              </a:solidFill>
            </a:rPr>
            <a:t>estabelecer instâncias de 2ª Linha (ou camada) de defesa</a:t>
          </a:r>
          <a:r>
            <a:rPr lang="pt-BR" sz="1800" b="0" dirty="0">
              <a:solidFill>
                <a:srgbClr val="035363"/>
              </a:solidFill>
            </a:rPr>
            <a:t> para supervisão e monitoramento dos controles internos</a:t>
          </a:r>
          <a:endParaRPr lang="pt-BR" sz="1800" b="0" dirty="0"/>
        </a:p>
      </dgm:t>
    </dgm:pt>
    <dgm:pt modelId="{FB5BADCB-AE59-4F8A-8E16-83E6F00C0771}" type="parTrans" cxnId="{AEDD0BFB-6BAF-4260-8B49-D0B48AAB287A}">
      <dgm:prSet/>
      <dgm:spPr/>
      <dgm:t>
        <a:bodyPr/>
        <a:lstStyle/>
        <a:p>
          <a:endParaRPr lang="pt-BR"/>
        </a:p>
      </dgm:t>
    </dgm:pt>
    <dgm:pt modelId="{76B5771F-6F3C-44F3-A93E-FFCA04C02E25}" type="sibTrans" cxnId="{AEDD0BFB-6BAF-4260-8B49-D0B48AAB287A}">
      <dgm:prSet/>
      <dgm:spPr/>
      <dgm:t>
        <a:bodyPr/>
        <a:lstStyle/>
        <a:p>
          <a:endParaRPr lang="pt-BR"/>
        </a:p>
      </dgm:t>
    </dgm:pt>
    <dgm:pt modelId="{8FC8FCAA-E85F-44E2-A59D-890FAA99323C}">
      <dgm:prSet phldrT="[Texto]" custT="1"/>
      <dgm:spPr/>
      <dgm:t>
        <a:bodyPr/>
        <a:lstStyle/>
        <a:p>
          <a:r>
            <a:rPr lang="pt-BR" sz="2000" b="1" dirty="0">
              <a:solidFill>
                <a:srgbClr val="035363"/>
              </a:solidFill>
            </a:rPr>
            <a:t>Os dirigentes máximos</a:t>
          </a:r>
        </a:p>
      </dgm:t>
    </dgm:pt>
    <dgm:pt modelId="{59409F1D-2217-462B-8661-13885FDB1072}" type="parTrans" cxnId="{48DADF3E-7616-403E-A982-15766B4F23E9}">
      <dgm:prSet/>
      <dgm:spPr/>
      <dgm:t>
        <a:bodyPr/>
        <a:lstStyle/>
        <a:p>
          <a:endParaRPr lang="pt-BR"/>
        </a:p>
      </dgm:t>
    </dgm:pt>
    <dgm:pt modelId="{7E7B6C8B-C092-4ECC-8C0F-50C98B8E16CA}" type="sibTrans" cxnId="{48DADF3E-7616-403E-A982-15766B4F23E9}">
      <dgm:prSet/>
      <dgm:spPr/>
      <dgm:t>
        <a:bodyPr/>
        <a:lstStyle/>
        <a:p>
          <a:endParaRPr lang="pt-BR"/>
        </a:p>
      </dgm:t>
    </dgm:pt>
    <dgm:pt modelId="{E15E636B-F33E-401D-AA3F-A8A480729AE7}" type="pres">
      <dgm:prSet presAssocID="{B7616058-620C-435B-970B-A70848915555}" presName="rootnode" presStyleCnt="0">
        <dgm:presLayoutVars>
          <dgm:chMax/>
          <dgm:chPref/>
          <dgm:dir/>
          <dgm:animLvl val="lvl"/>
        </dgm:presLayoutVars>
      </dgm:prSet>
      <dgm:spPr/>
    </dgm:pt>
    <dgm:pt modelId="{FC5DB4DC-DBBD-4F64-8E7C-FFD401E2B1A6}" type="pres">
      <dgm:prSet presAssocID="{8FC8FCAA-E85F-44E2-A59D-890FAA99323C}" presName="composite" presStyleCnt="0"/>
      <dgm:spPr/>
    </dgm:pt>
    <dgm:pt modelId="{0A75174F-476F-4FE1-A361-5688BBB8B5EB}" type="pres">
      <dgm:prSet presAssocID="{8FC8FCAA-E85F-44E2-A59D-890FAA99323C}" presName="LShape" presStyleLbl="alignNode1" presStyleIdx="0" presStyleCnt="5"/>
      <dgm:spPr>
        <a:solidFill>
          <a:srgbClr val="035363"/>
        </a:solidFill>
        <a:ln>
          <a:solidFill>
            <a:srgbClr val="035363"/>
          </a:solidFill>
        </a:ln>
      </dgm:spPr>
    </dgm:pt>
    <dgm:pt modelId="{DBC5D6D1-ACCD-41D5-8720-AB19B38EB6C7}" type="pres">
      <dgm:prSet presAssocID="{8FC8FCAA-E85F-44E2-A59D-890FAA99323C}" presName="ParentText" presStyleLbl="revTx" presStyleIdx="0" presStyleCnt="3">
        <dgm:presLayoutVars>
          <dgm:chMax val="0"/>
          <dgm:chPref val="0"/>
          <dgm:bulletEnabled val="1"/>
        </dgm:presLayoutVars>
      </dgm:prSet>
      <dgm:spPr/>
    </dgm:pt>
    <dgm:pt modelId="{EF7DD79E-F428-4921-9EC8-57479D7CF8DE}" type="pres">
      <dgm:prSet presAssocID="{8FC8FCAA-E85F-44E2-A59D-890FAA99323C}" presName="Triangle" presStyleLbl="alignNode1" presStyleIdx="1" presStyleCnt="5"/>
      <dgm:spPr>
        <a:solidFill>
          <a:srgbClr val="035363"/>
        </a:solidFill>
        <a:ln>
          <a:solidFill>
            <a:srgbClr val="035363"/>
          </a:solidFill>
        </a:ln>
      </dgm:spPr>
    </dgm:pt>
    <dgm:pt modelId="{F9D0D3D3-8F7A-45E7-B690-0C9798FD1148}" type="pres">
      <dgm:prSet presAssocID="{7E7B6C8B-C092-4ECC-8C0F-50C98B8E16CA}" presName="sibTrans" presStyleCnt="0"/>
      <dgm:spPr/>
    </dgm:pt>
    <dgm:pt modelId="{A484EEE8-C928-40C8-B43F-766751B99C29}" type="pres">
      <dgm:prSet presAssocID="{7E7B6C8B-C092-4ECC-8C0F-50C98B8E16CA}" presName="space" presStyleCnt="0"/>
      <dgm:spPr/>
    </dgm:pt>
    <dgm:pt modelId="{BB94A938-02C5-4887-8FD1-E7FFCC032906}" type="pres">
      <dgm:prSet presAssocID="{40C5CDAE-5127-4C9D-B38F-936D4836AFFB}" presName="composite" presStyleCnt="0"/>
      <dgm:spPr/>
    </dgm:pt>
    <dgm:pt modelId="{B3E13203-C520-4B26-BB3C-667771E560CA}" type="pres">
      <dgm:prSet presAssocID="{40C5CDAE-5127-4C9D-B38F-936D4836AFFB}" presName="LShape" presStyleLbl="alignNode1" presStyleIdx="2" presStyleCnt="5"/>
      <dgm:spPr>
        <a:solidFill>
          <a:srgbClr val="035363"/>
        </a:solidFill>
        <a:ln>
          <a:solidFill>
            <a:srgbClr val="035363"/>
          </a:solidFill>
        </a:ln>
      </dgm:spPr>
    </dgm:pt>
    <dgm:pt modelId="{232C8E08-ECC3-44E2-BFA8-EFC0765C9C1E}" type="pres">
      <dgm:prSet presAssocID="{40C5CDAE-5127-4C9D-B38F-936D4836AFFB}" presName="ParentText" presStyleLbl="revTx" presStyleIdx="1" presStyleCnt="3">
        <dgm:presLayoutVars>
          <dgm:chMax val="0"/>
          <dgm:chPref val="0"/>
          <dgm:bulletEnabled val="1"/>
        </dgm:presLayoutVars>
      </dgm:prSet>
      <dgm:spPr/>
    </dgm:pt>
    <dgm:pt modelId="{B3DDA57A-3B72-45B0-9314-FBD84C2CE9E0}" type="pres">
      <dgm:prSet presAssocID="{40C5CDAE-5127-4C9D-B38F-936D4836AFFB}" presName="Triangle" presStyleLbl="alignNode1" presStyleIdx="3" presStyleCnt="5"/>
      <dgm:spPr>
        <a:solidFill>
          <a:srgbClr val="035363"/>
        </a:solidFill>
        <a:ln>
          <a:solidFill>
            <a:srgbClr val="035363"/>
          </a:solidFill>
        </a:ln>
      </dgm:spPr>
    </dgm:pt>
    <dgm:pt modelId="{3DA30AD6-7D05-4F13-AFA1-C4B3A21E9753}" type="pres">
      <dgm:prSet presAssocID="{3D2B67C4-7E89-47B0-9F15-B6FF68F5B5EB}" presName="sibTrans" presStyleCnt="0"/>
      <dgm:spPr/>
    </dgm:pt>
    <dgm:pt modelId="{AAC7FCDF-3647-469D-95B8-335782216812}" type="pres">
      <dgm:prSet presAssocID="{3D2B67C4-7E89-47B0-9F15-B6FF68F5B5EB}" presName="space" presStyleCnt="0"/>
      <dgm:spPr/>
    </dgm:pt>
    <dgm:pt modelId="{826E7B52-ABD8-4388-97F7-72359FE8E2F9}" type="pres">
      <dgm:prSet presAssocID="{3F0AB833-B994-46F4-A782-369EABAE6939}" presName="composite" presStyleCnt="0"/>
      <dgm:spPr/>
    </dgm:pt>
    <dgm:pt modelId="{58B03D07-C90C-4133-9324-344AA0CEE832}" type="pres">
      <dgm:prSet presAssocID="{3F0AB833-B994-46F4-A782-369EABAE6939}" presName="LShape" presStyleLbl="alignNode1" presStyleIdx="4" presStyleCnt="5"/>
      <dgm:spPr>
        <a:solidFill>
          <a:srgbClr val="035363"/>
        </a:solidFill>
        <a:ln>
          <a:solidFill>
            <a:srgbClr val="035363"/>
          </a:solidFill>
        </a:ln>
      </dgm:spPr>
    </dgm:pt>
    <dgm:pt modelId="{723CEE49-5E51-436B-AF1C-213410EF5BDE}" type="pres">
      <dgm:prSet presAssocID="{3F0AB833-B994-46F4-A782-369EABAE6939}" presName="ParentText" presStyleLbl="revTx" presStyleIdx="2" presStyleCnt="3">
        <dgm:presLayoutVars>
          <dgm:chMax val="0"/>
          <dgm:chPref val="0"/>
          <dgm:bulletEnabled val="1"/>
        </dgm:presLayoutVars>
      </dgm:prSet>
      <dgm:spPr/>
    </dgm:pt>
  </dgm:ptLst>
  <dgm:cxnLst>
    <dgm:cxn modelId="{006EA31C-867B-4DED-B7A1-4A3F4D9AD1C3}" srcId="{B7616058-620C-435B-970B-A70848915555}" destId="{40C5CDAE-5127-4C9D-B38F-936D4836AFFB}" srcOrd="1" destOrd="0" parTransId="{00160A38-5E06-431B-BE5B-F3CFC9A1A68D}" sibTransId="{3D2B67C4-7E89-47B0-9F15-B6FF68F5B5EB}"/>
    <dgm:cxn modelId="{48DADF3E-7616-403E-A982-15766B4F23E9}" srcId="{B7616058-620C-435B-970B-A70848915555}" destId="{8FC8FCAA-E85F-44E2-A59D-890FAA99323C}" srcOrd="0" destOrd="0" parTransId="{59409F1D-2217-462B-8661-13885FDB1072}" sibTransId="{7E7B6C8B-C092-4ECC-8C0F-50C98B8E16CA}"/>
    <dgm:cxn modelId="{BA51A486-3CB0-44C9-BE92-E6FB5E6CBC38}" type="presOf" srcId="{8FC8FCAA-E85F-44E2-A59D-890FAA99323C}" destId="{DBC5D6D1-ACCD-41D5-8720-AB19B38EB6C7}" srcOrd="0" destOrd="0" presId="urn:microsoft.com/office/officeart/2009/3/layout/StepUpProcess"/>
    <dgm:cxn modelId="{FE6C7097-3A20-4AC7-8AC9-3AC51A137F29}" type="presOf" srcId="{40C5CDAE-5127-4C9D-B38F-936D4836AFFB}" destId="{232C8E08-ECC3-44E2-BFA8-EFC0765C9C1E}" srcOrd="0" destOrd="0" presId="urn:microsoft.com/office/officeart/2009/3/layout/StepUpProcess"/>
    <dgm:cxn modelId="{5257A3BB-F44C-40A5-84DC-353E7CC3D0E7}" type="presOf" srcId="{3F0AB833-B994-46F4-A782-369EABAE6939}" destId="{723CEE49-5E51-436B-AF1C-213410EF5BDE}" srcOrd="0" destOrd="0" presId="urn:microsoft.com/office/officeart/2009/3/layout/StepUpProcess"/>
    <dgm:cxn modelId="{B87B47E2-8FD5-4350-A91F-858C4548587D}" type="presOf" srcId="{B7616058-620C-435B-970B-A70848915555}" destId="{E15E636B-F33E-401D-AA3F-A8A480729AE7}" srcOrd="0" destOrd="0" presId="urn:microsoft.com/office/officeart/2009/3/layout/StepUpProcess"/>
    <dgm:cxn modelId="{AEDD0BFB-6BAF-4260-8B49-D0B48AAB287A}" srcId="{B7616058-620C-435B-970B-A70848915555}" destId="{3F0AB833-B994-46F4-A782-369EABAE6939}" srcOrd="2" destOrd="0" parTransId="{FB5BADCB-AE59-4F8A-8E16-83E6F00C0771}" sibTransId="{76B5771F-6F3C-44F3-A93E-FFCA04C02E25}"/>
    <dgm:cxn modelId="{6A897F48-B21F-4F0C-9F05-B996D00EED7C}" type="presParOf" srcId="{E15E636B-F33E-401D-AA3F-A8A480729AE7}" destId="{FC5DB4DC-DBBD-4F64-8E7C-FFD401E2B1A6}" srcOrd="0" destOrd="0" presId="urn:microsoft.com/office/officeart/2009/3/layout/StepUpProcess"/>
    <dgm:cxn modelId="{C953D746-1E0E-4B89-92A6-084366FB5B46}" type="presParOf" srcId="{FC5DB4DC-DBBD-4F64-8E7C-FFD401E2B1A6}" destId="{0A75174F-476F-4FE1-A361-5688BBB8B5EB}" srcOrd="0" destOrd="0" presId="urn:microsoft.com/office/officeart/2009/3/layout/StepUpProcess"/>
    <dgm:cxn modelId="{99CF4F60-9833-4121-84FA-AAB17C3EDBC4}" type="presParOf" srcId="{FC5DB4DC-DBBD-4F64-8E7C-FFD401E2B1A6}" destId="{DBC5D6D1-ACCD-41D5-8720-AB19B38EB6C7}" srcOrd="1" destOrd="0" presId="urn:microsoft.com/office/officeart/2009/3/layout/StepUpProcess"/>
    <dgm:cxn modelId="{85FC8331-73FD-42D8-B948-1B76EA254987}" type="presParOf" srcId="{FC5DB4DC-DBBD-4F64-8E7C-FFD401E2B1A6}" destId="{EF7DD79E-F428-4921-9EC8-57479D7CF8DE}" srcOrd="2" destOrd="0" presId="urn:microsoft.com/office/officeart/2009/3/layout/StepUpProcess"/>
    <dgm:cxn modelId="{07183F95-82CC-4BD9-B7F7-CA2729ABFC66}" type="presParOf" srcId="{E15E636B-F33E-401D-AA3F-A8A480729AE7}" destId="{F9D0D3D3-8F7A-45E7-B690-0C9798FD1148}" srcOrd="1" destOrd="0" presId="urn:microsoft.com/office/officeart/2009/3/layout/StepUpProcess"/>
    <dgm:cxn modelId="{A81B877F-DD63-4643-A70E-39542827AF0D}" type="presParOf" srcId="{F9D0D3D3-8F7A-45E7-B690-0C9798FD1148}" destId="{A484EEE8-C928-40C8-B43F-766751B99C29}" srcOrd="0" destOrd="0" presId="urn:microsoft.com/office/officeart/2009/3/layout/StepUpProcess"/>
    <dgm:cxn modelId="{FE4AF01B-C6F7-488B-B2C4-8C256C1BBDEE}" type="presParOf" srcId="{E15E636B-F33E-401D-AA3F-A8A480729AE7}" destId="{BB94A938-02C5-4887-8FD1-E7FFCC032906}" srcOrd="2" destOrd="0" presId="urn:microsoft.com/office/officeart/2009/3/layout/StepUpProcess"/>
    <dgm:cxn modelId="{C1BDAAEE-7A5D-443C-B918-FA9F097E2F2B}" type="presParOf" srcId="{BB94A938-02C5-4887-8FD1-E7FFCC032906}" destId="{B3E13203-C520-4B26-BB3C-667771E560CA}" srcOrd="0" destOrd="0" presId="urn:microsoft.com/office/officeart/2009/3/layout/StepUpProcess"/>
    <dgm:cxn modelId="{6CC14BBE-C11E-4DCE-9F56-F5CF0B56DB64}" type="presParOf" srcId="{BB94A938-02C5-4887-8FD1-E7FFCC032906}" destId="{232C8E08-ECC3-44E2-BFA8-EFC0765C9C1E}" srcOrd="1" destOrd="0" presId="urn:microsoft.com/office/officeart/2009/3/layout/StepUpProcess"/>
    <dgm:cxn modelId="{42C6BDC5-EE03-436F-AC8A-5FA46D03A354}" type="presParOf" srcId="{BB94A938-02C5-4887-8FD1-E7FFCC032906}" destId="{B3DDA57A-3B72-45B0-9314-FBD84C2CE9E0}" srcOrd="2" destOrd="0" presId="urn:microsoft.com/office/officeart/2009/3/layout/StepUpProcess"/>
    <dgm:cxn modelId="{755DA439-00DC-4696-A308-1111F03448AD}" type="presParOf" srcId="{E15E636B-F33E-401D-AA3F-A8A480729AE7}" destId="{3DA30AD6-7D05-4F13-AFA1-C4B3A21E9753}" srcOrd="3" destOrd="0" presId="urn:microsoft.com/office/officeart/2009/3/layout/StepUpProcess"/>
    <dgm:cxn modelId="{D4930913-19E2-414E-9BA8-4BE4EA20F481}" type="presParOf" srcId="{3DA30AD6-7D05-4F13-AFA1-C4B3A21E9753}" destId="{AAC7FCDF-3647-469D-95B8-335782216812}" srcOrd="0" destOrd="0" presId="urn:microsoft.com/office/officeart/2009/3/layout/StepUpProcess"/>
    <dgm:cxn modelId="{108DFB39-7026-4579-9131-68C19E5B2E18}" type="presParOf" srcId="{E15E636B-F33E-401D-AA3F-A8A480729AE7}" destId="{826E7B52-ABD8-4388-97F7-72359FE8E2F9}" srcOrd="4" destOrd="0" presId="urn:microsoft.com/office/officeart/2009/3/layout/StepUpProcess"/>
    <dgm:cxn modelId="{F035EA98-B073-468F-B0E4-B61FEB392C74}" type="presParOf" srcId="{826E7B52-ABD8-4388-97F7-72359FE8E2F9}" destId="{58B03D07-C90C-4133-9324-344AA0CEE832}" srcOrd="0" destOrd="0" presId="urn:microsoft.com/office/officeart/2009/3/layout/StepUpProcess"/>
    <dgm:cxn modelId="{C0CA0B6A-F89E-41FD-9184-E47A2600B92E}" type="presParOf" srcId="{826E7B52-ABD8-4388-97F7-72359FE8E2F9}" destId="{723CEE49-5E51-436B-AF1C-213410EF5BDE}" srcOrd="1" destOrd="0" presId="urn:microsoft.com/office/officeart/2009/3/layout/StepUp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F3CABCD-905E-4336-9391-B4A8795F9A06}" type="doc">
      <dgm:prSet loTypeId="urn:microsoft.com/office/officeart/2005/8/layout/hList7" loCatId="list" qsTypeId="urn:microsoft.com/office/officeart/2005/8/quickstyle/simple1" qsCatId="simple" csTypeId="urn:microsoft.com/office/officeart/2005/8/colors/colorful5" csCatId="colorful" phldr="1"/>
      <dgm:spPr/>
      <dgm:t>
        <a:bodyPr/>
        <a:lstStyle/>
        <a:p>
          <a:endParaRPr lang="pt-BR"/>
        </a:p>
      </dgm:t>
    </dgm:pt>
    <dgm:pt modelId="{527D05D1-9CE5-45E4-B820-964A60A9200A}">
      <dgm:prSet phldrT="[Texto]"/>
      <dgm:spPr/>
      <dgm:t>
        <a:bodyPr/>
        <a:lstStyle/>
        <a:p>
          <a:r>
            <a:rPr lang="pt-BR" dirty="0"/>
            <a:t>Ampliar</a:t>
          </a:r>
        </a:p>
      </dgm:t>
    </dgm:pt>
    <dgm:pt modelId="{58A1AC05-F3D9-47BF-A784-60518AC70883}" type="parTrans" cxnId="{98F644CD-6E24-4F10-8908-D6A3D1F8132B}">
      <dgm:prSet/>
      <dgm:spPr/>
      <dgm:t>
        <a:bodyPr/>
        <a:lstStyle/>
        <a:p>
          <a:endParaRPr lang="pt-BR"/>
        </a:p>
      </dgm:t>
    </dgm:pt>
    <dgm:pt modelId="{3C33247C-FA4A-4DA9-B174-28A660259559}" type="sibTrans" cxnId="{98F644CD-6E24-4F10-8908-D6A3D1F8132B}">
      <dgm:prSet/>
      <dgm:spPr/>
      <dgm:t>
        <a:bodyPr/>
        <a:lstStyle/>
        <a:p>
          <a:endParaRPr lang="pt-BR"/>
        </a:p>
      </dgm:t>
    </dgm:pt>
    <dgm:pt modelId="{1AB5A612-AFA5-4F69-A683-F6C3DDA9E30B}">
      <dgm:prSet phldrT="[Texto]"/>
      <dgm:spPr/>
      <dgm:t>
        <a:bodyPr/>
        <a:lstStyle/>
        <a:p>
          <a:r>
            <a:rPr lang="pt-BR" dirty="0"/>
            <a:t>Modificar</a:t>
          </a:r>
        </a:p>
      </dgm:t>
    </dgm:pt>
    <dgm:pt modelId="{8D808623-2F17-4ED1-99DC-6249BB4EB7ED}" type="parTrans" cxnId="{AF712DFF-B4D6-427A-A3B2-5950CE5B1C81}">
      <dgm:prSet/>
      <dgm:spPr/>
      <dgm:t>
        <a:bodyPr/>
        <a:lstStyle/>
        <a:p>
          <a:endParaRPr lang="pt-BR"/>
        </a:p>
      </dgm:t>
    </dgm:pt>
    <dgm:pt modelId="{0EA9244D-EC1A-42AF-825E-A6E63C3A6DF2}" type="sibTrans" cxnId="{AF712DFF-B4D6-427A-A3B2-5950CE5B1C81}">
      <dgm:prSet/>
      <dgm:spPr/>
      <dgm:t>
        <a:bodyPr/>
        <a:lstStyle/>
        <a:p>
          <a:endParaRPr lang="pt-BR"/>
        </a:p>
      </dgm:t>
    </dgm:pt>
    <dgm:pt modelId="{D0473F82-12BD-4FBE-BCC7-06A681FF4D20}">
      <dgm:prSet phldrT="[Texto]"/>
      <dgm:spPr/>
      <dgm:t>
        <a:bodyPr/>
        <a:lstStyle/>
        <a:p>
          <a:r>
            <a:rPr lang="pt-BR" dirty="0"/>
            <a:t>Descontinuar</a:t>
          </a:r>
        </a:p>
      </dgm:t>
    </dgm:pt>
    <dgm:pt modelId="{F8EDC5A5-039D-4239-8625-D99927310FE4}" type="parTrans" cxnId="{814C7177-C174-4F76-AAEF-8DB688F3C3E2}">
      <dgm:prSet/>
      <dgm:spPr/>
      <dgm:t>
        <a:bodyPr/>
        <a:lstStyle/>
        <a:p>
          <a:endParaRPr lang="pt-BR"/>
        </a:p>
      </dgm:t>
    </dgm:pt>
    <dgm:pt modelId="{9D9673ED-726C-41E8-808D-CCF215BF780E}" type="sibTrans" cxnId="{814C7177-C174-4F76-AAEF-8DB688F3C3E2}">
      <dgm:prSet/>
      <dgm:spPr/>
      <dgm:t>
        <a:bodyPr/>
        <a:lstStyle/>
        <a:p>
          <a:endParaRPr lang="pt-BR"/>
        </a:p>
      </dgm:t>
    </dgm:pt>
    <dgm:pt modelId="{D43E45E7-2AB9-4BF1-B433-F5EB35C29794}" type="pres">
      <dgm:prSet presAssocID="{4F3CABCD-905E-4336-9391-B4A8795F9A06}" presName="Name0" presStyleCnt="0">
        <dgm:presLayoutVars>
          <dgm:dir/>
          <dgm:resizeHandles val="exact"/>
        </dgm:presLayoutVars>
      </dgm:prSet>
      <dgm:spPr/>
    </dgm:pt>
    <dgm:pt modelId="{164A9EB3-6888-493B-8B23-829E3E504809}" type="pres">
      <dgm:prSet presAssocID="{4F3CABCD-905E-4336-9391-B4A8795F9A06}" presName="fgShape" presStyleLbl="fgShp" presStyleIdx="0" presStyleCnt="1" custScaleY="273101">
        <dgm:style>
          <a:lnRef idx="2">
            <a:schemeClr val="accent6"/>
          </a:lnRef>
          <a:fillRef idx="1">
            <a:schemeClr val="lt1"/>
          </a:fillRef>
          <a:effectRef idx="0">
            <a:schemeClr val="accent6"/>
          </a:effectRef>
          <a:fontRef idx="minor">
            <a:schemeClr val="dk1"/>
          </a:fontRef>
        </dgm:style>
      </dgm:prSet>
      <dgm:spPr>
        <a:pattFill prst="pct5">
          <a:fgClr>
            <a:schemeClr val="lt1"/>
          </a:fgClr>
          <a:bgClr>
            <a:schemeClr val="bg1"/>
          </a:bgClr>
        </a:pattFill>
      </dgm:spPr>
    </dgm:pt>
    <dgm:pt modelId="{1B898F54-DF76-4D7D-853C-57EB11A2DC8F}" type="pres">
      <dgm:prSet presAssocID="{4F3CABCD-905E-4336-9391-B4A8795F9A06}" presName="linComp" presStyleCnt="0"/>
      <dgm:spPr/>
    </dgm:pt>
    <dgm:pt modelId="{7DD935D7-E576-4885-A140-869A0A8C59AD}" type="pres">
      <dgm:prSet presAssocID="{527D05D1-9CE5-45E4-B820-964A60A9200A}" presName="compNode" presStyleCnt="0"/>
      <dgm:spPr/>
    </dgm:pt>
    <dgm:pt modelId="{BA28EF31-825F-4C0E-9DF8-EDA798C536B0}" type="pres">
      <dgm:prSet presAssocID="{527D05D1-9CE5-45E4-B820-964A60A9200A}" presName="bkgdShape" presStyleLbl="node1" presStyleIdx="0" presStyleCnt="3"/>
      <dgm:spPr/>
    </dgm:pt>
    <dgm:pt modelId="{3E57F8E3-CDEA-4DEF-B31A-A3A9E40512D7}" type="pres">
      <dgm:prSet presAssocID="{527D05D1-9CE5-45E4-B820-964A60A9200A}" presName="nodeTx" presStyleLbl="node1" presStyleIdx="0" presStyleCnt="3">
        <dgm:presLayoutVars>
          <dgm:bulletEnabled val="1"/>
        </dgm:presLayoutVars>
      </dgm:prSet>
      <dgm:spPr/>
    </dgm:pt>
    <dgm:pt modelId="{C65DB80A-C3DD-4BF6-9106-3A0C873F36BD}" type="pres">
      <dgm:prSet presAssocID="{527D05D1-9CE5-45E4-B820-964A60A9200A}" presName="invisiNode" presStyleLbl="node1" presStyleIdx="0" presStyleCnt="3"/>
      <dgm:spPr/>
    </dgm:pt>
    <dgm:pt modelId="{7EB3CF67-F3A3-4AAD-84E2-A46572D21829}" type="pres">
      <dgm:prSet presAssocID="{527D05D1-9CE5-45E4-B820-964A60A9200A}" presName="imagNode" presStyleLbl="fgImgPlace1" presStyleIdx="0" presStyleCnt="3"/>
      <dgm:spPr>
        <a:blipFill>
          <a:blip xmlns:r="http://schemas.openxmlformats.org/officeDocument/2006/relationships" r:embed="rId1"/>
          <a:srcRect/>
          <a:stretch>
            <a:fillRect t="-2000" b="-2000"/>
          </a:stretch>
        </a:blipFill>
      </dgm:spPr>
    </dgm:pt>
    <dgm:pt modelId="{75665C4D-7C51-4917-A5D8-7A2CE65EE1A1}" type="pres">
      <dgm:prSet presAssocID="{3C33247C-FA4A-4DA9-B174-28A660259559}" presName="sibTrans" presStyleLbl="sibTrans2D1" presStyleIdx="0" presStyleCnt="0"/>
      <dgm:spPr/>
    </dgm:pt>
    <dgm:pt modelId="{ADD9B25C-4FFC-407A-B048-3D825B6765BD}" type="pres">
      <dgm:prSet presAssocID="{1AB5A612-AFA5-4F69-A683-F6C3DDA9E30B}" presName="compNode" presStyleCnt="0"/>
      <dgm:spPr/>
    </dgm:pt>
    <dgm:pt modelId="{7DD368CC-79AF-43C5-AD71-9B78D82936AC}" type="pres">
      <dgm:prSet presAssocID="{1AB5A612-AFA5-4F69-A683-F6C3DDA9E30B}" presName="bkgdShape" presStyleLbl="node1" presStyleIdx="1" presStyleCnt="3"/>
      <dgm:spPr/>
    </dgm:pt>
    <dgm:pt modelId="{E3D1A8BB-D5CD-4D95-997E-B3FF757FA352}" type="pres">
      <dgm:prSet presAssocID="{1AB5A612-AFA5-4F69-A683-F6C3DDA9E30B}" presName="nodeTx" presStyleLbl="node1" presStyleIdx="1" presStyleCnt="3">
        <dgm:presLayoutVars>
          <dgm:bulletEnabled val="1"/>
        </dgm:presLayoutVars>
      </dgm:prSet>
      <dgm:spPr/>
    </dgm:pt>
    <dgm:pt modelId="{A13E0AA9-2793-468D-A83B-0338FDC87197}" type="pres">
      <dgm:prSet presAssocID="{1AB5A612-AFA5-4F69-A683-F6C3DDA9E30B}" presName="invisiNode" presStyleLbl="node1" presStyleIdx="1" presStyleCnt="3"/>
      <dgm:spPr/>
    </dgm:pt>
    <dgm:pt modelId="{18E34041-8483-44C6-8EAF-A4BC98EFFFE3}" type="pres">
      <dgm:prSet presAssocID="{1AB5A612-AFA5-4F69-A683-F6C3DDA9E30B}" presName="imagNode" presStyleLbl="fgImgPlace1" presStyleIdx="1" presStyleCnt="3"/>
      <dgm:spPr>
        <a:blipFill rotWithShape="1">
          <a:blip xmlns:r="http://schemas.openxmlformats.org/officeDocument/2006/relationships" r:embed="rId2"/>
          <a:stretch>
            <a:fillRect/>
          </a:stretch>
        </a:blipFill>
      </dgm:spPr>
    </dgm:pt>
    <dgm:pt modelId="{DA37BFE9-76AA-41ED-896F-DD444AE3F385}" type="pres">
      <dgm:prSet presAssocID="{0EA9244D-EC1A-42AF-825E-A6E63C3A6DF2}" presName="sibTrans" presStyleLbl="sibTrans2D1" presStyleIdx="0" presStyleCnt="0"/>
      <dgm:spPr/>
    </dgm:pt>
    <dgm:pt modelId="{8179ADA3-E0BE-4F6E-AC63-B608EC8F2FFE}" type="pres">
      <dgm:prSet presAssocID="{D0473F82-12BD-4FBE-BCC7-06A681FF4D20}" presName="compNode" presStyleCnt="0"/>
      <dgm:spPr/>
    </dgm:pt>
    <dgm:pt modelId="{BFE345B5-20FD-4077-94C2-1A4517F6A43D}" type="pres">
      <dgm:prSet presAssocID="{D0473F82-12BD-4FBE-BCC7-06A681FF4D20}" presName="bkgdShape" presStyleLbl="node1" presStyleIdx="2" presStyleCnt="3"/>
      <dgm:spPr/>
    </dgm:pt>
    <dgm:pt modelId="{12D69794-5A87-497A-BC8C-9FB32D0A37AA}" type="pres">
      <dgm:prSet presAssocID="{D0473F82-12BD-4FBE-BCC7-06A681FF4D20}" presName="nodeTx" presStyleLbl="node1" presStyleIdx="2" presStyleCnt="3">
        <dgm:presLayoutVars>
          <dgm:bulletEnabled val="1"/>
        </dgm:presLayoutVars>
      </dgm:prSet>
      <dgm:spPr/>
    </dgm:pt>
    <dgm:pt modelId="{935CDFB4-F4C4-4DEA-8994-29A26134CE31}" type="pres">
      <dgm:prSet presAssocID="{D0473F82-12BD-4FBE-BCC7-06A681FF4D20}" presName="invisiNode" presStyleLbl="node1" presStyleIdx="2" presStyleCnt="3"/>
      <dgm:spPr/>
    </dgm:pt>
    <dgm:pt modelId="{7AFFFBEC-640B-4D26-AFC6-05791A689971}" type="pres">
      <dgm:prSet presAssocID="{D0473F82-12BD-4FBE-BCC7-06A681FF4D20}" presName="imagNode" presStyleLbl="fgImgPlace1" presStyleIdx="2" presStyleCnt="3"/>
      <dgm:spPr>
        <a:blipFill>
          <a:blip xmlns:r="http://schemas.openxmlformats.org/officeDocument/2006/relationships" r:embed="rId3"/>
          <a:srcRect/>
          <a:stretch>
            <a:fillRect/>
          </a:stretch>
        </a:blipFill>
      </dgm:spPr>
    </dgm:pt>
  </dgm:ptLst>
  <dgm:cxnLst>
    <dgm:cxn modelId="{F95B602F-EC6A-4D97-BFA9-D38559F7FB3D}" type="presOf" srcId="{527D05D1-9CE5-45E4-B820-964A60A9200A}" destId="{BA28EF31-825F-4C0E-9DF8-EDA798C536B0}" srcOrd="0" destOrd="0" presId="urn:microsoft.com/office/officeart/2005/8/layout/hList7"/>
    <dgm:cxn modelId="{A8CA2634-57E6-408B-A709-B101CCDE25B2}" type="presOf" srcId="{D0473F82-12BD-4FBE-BCC7-06A681FF4D20}" destId="{BFE345B5-20FD-4077-94C2-1A4517F6A43D}" srcOrd="0" destOrd="0" presId="urn:microsoft.com/office/officeart/2005/8/layout/hList7"/>
    <dgm:cxn modelId="{1DBC885B-28F5-45B6-8798-323AC8B913D1}" type="presOf" srcId="{4F3CABCD-905E-4336-9391-B4A8795F9A06}" destId="{D43E45E7-2AB9-4BF1-B433-F5EB35C29794}" srcOrd="0" destOrd="0" presId="urn:microsoft.com/office/officeart/2005/8/layout/hList7"/>
    <dgm:cxn modelId="{A1ECD656-DBFB-494C-B4EF-9FE7372063B8}" type="presOf" srcId="{D0473F82-12BD-4FBE-BCC7-06A681FF4D20}" destId="{12D69794-5A87-497A-BC8C-9FB32D0A37AA}" srcOrd="1" destOrd="0" presId="urn:microsoft.com/office/officeart/2005/8/layout/hList7"/>
    <dgm:cxn modelId="{814C7177-C174-4F76-AAEF-8DB688F3C3E2}" srcId="{4F3CABCD-905E-4336-9391-B4A8795F9A06}" destId="{D0473F82-12BD-4FBE-BCC7-06A681FF4D20}" srcOrd="2" destOrd="0" parTransId="{F8EDC5A5-039D-4239-8625-D99927310FE4}" sibTransId="{9D9673ED-726C-41E8-808D-CCF215BF780E}"/>
    <dgm:cxn modelId="{7B1D9A85-9516-45AE-A680-D3E466F9567D}" type="presOf" srcId="{1AB5A612-AFA5-4F69-A683-F6C3DDA9E30B}" destId="{7DD368CC-79AF-43C5-AD71-9B78D82936AC}" srcOrd="0" destOrd="0" presId="urn:microsoft.com/office/officeart/2005/8/layout/hList7"/>
    <dgm:cxn modelId="{0E0C28A6-A2DF-4C30-B4C1-F1EE0A0493B5}" type="presOf" srcId="{3C33247C-FA4A-4DA9-B174-28A660259559}" destId="{75665C4D-7C51-4917-A5D8-7A2CE65EE1A1}" srcOrd="0" destOrd="0" presId="urn:microsoft.com/office/officeart/2005/8/layout/hList7"/>
    <dgm:cxn modelId="{28B059BE-4D4F-4A4F-AE07-33E1554FDF65}" type="presOf" srcId="{1AB5A612-AFA5-4F69-A683-F6C3DDA9E30B}" destId="{E3D1A8BB-D5CD-4D95-997E-B3FF757FA352}" srcOrd="1" destOrd="0" presId="urn:microsoft.com/office/officeart/2005/8/layout/hList7"/>
    <dgm:cxn modelId="{98D2BEC3-93A1-4A41-8B10-EC49315D9E9B}" type="presOf" srcId="{0EA9244D-EC1A-42AF-825E-A6E63C3A6DF2}" destId="{DA37BFE9-76AA-41ED-896F-DD444AE3F385}" srcOrd="0" destOrd="0" presId="urn:microsoft.com/office/officeart/2005/8/layout/hList7"/>
    <dgm:cxn modelId="{526276C9-61DF-4468-BEAB-593A4E3D4D1D}" type="presOf" srcId="{527D05D1-9CE5-45E4-B820-964A60A9200A}" destId="{3E57F8E3-CDEA-4DEF-B31A-A3A9E40512D7}" srcOrd="1" destOrd="0" presId="urn:microsoft.com/office/officeart/2005/8/layout/hList7"/>
    <dgm:cxn modelId="{98F644CD-6E24-4F10-8908-D6A3D1F8132B}" srcId="{4F3CABCD-905E-4336-9391-B4A8795F9A06}" destId="{527D05D1-9CE5-45E4-B820-964A60A9200A}" srcOrd="0" destOrd="0" parTransId="{58A1AC05-F3D9-47BF-A784-60518AC70883}" sibTransId="{3C33247C-FA4A-4DA9-B174-28A660259559}"/>
    <dgm:cxn modelId="{AF712DFF-B4D6-427A-A3B2-5950CE5B1C81}" srcId="{4F3CABCD-905E-4336-9391-B4A8795F9A06}" destId="{1AB5A612-AFA5-4F69-A683-F6C3DDA9E30B}" srcOrd="1" destOrd="0" parTransId="{8D808623-2F17-4ED1-99DC-6249BB4EB7ED}" sibTransId="{0EA9244D-EC1A-42AF-825E-A6E63C3A6DF2}"/>
    <dgm:cxn modelId="{02C27C1C-EF77-4571-86B8-147DB28649CC}" type="presParOf" srcId="{D43E45E7-2AB9-4BF1-B433-F5EB35C29794}" destId="{164A9EB3-6888-493B-8B23-829E3E504809}" srcOrd="0" destOrd="0" presId="urn:microsoft.com/office/officeart/2005/8/layout/hList7"/>
    <dgm:cxn modelId="{ED900C2F-CD39-42E3-B402-A5F0A0320F1B}" type="presParOf" srcId="{D43E45E7-2AB9-4BF1-B433-F5EB35C29794}" destId="{1B898F54-DF76-4D7D-853C-57EB11A2DC8F}" srcOrd="1" destOrd="0" presId="urn:microsoft.com/office/officeart/2005/8/layout/hList7"/>
    <dgm:cxn modelId="{D34BC6DC-D998-41E7-BED3-28481E26248F}" type="presParOf" srcId="{1B898F54-DF76-4D7D-853C-57EB11A2DC8F}" destId="{7DD935D7-E576-4885-A140-869A0A8C59AD}" srcOrd="0" destOrd="0" presId="urn:microsoft.com/office/officeart/2005/8/layout/hList7"/>
    <dgm:cxn modelId="{B295C52E-823F-434F-95A7-A7D3CE6D65AB}" type="presParOf" srcId="{7DD935D7-E576-4885-A140-869A0A8C59AD}" destId="{BA28EF31-825F-4C0E-9DF8-EDA798C536B0}" srcOrd="0" destOrd="0" presId="urn:microsoft.com/office/officeart/2005/8/layout/hList7"/>
    <dgm:cxn modelId="{41E129BB-7529-4F85-842E-D1363C5A0873}" type="presParOf" srcId="{7DD935D7-E576-4885-A140-869A0A8C59AD}" destId="{3E57F8E3-CDEA-4DEF-B31A-A3A9E40512D7}" srcOrd="1" destOrd="0" presId="urn:microsoft.com/office/officeart/2005/8/layout/hList7"/>
    <dgm:cxn modelId="{901A6B40-7BA2-459D-9062-235B0D1528DA}" type="presParOf" srcId="{7DD935D7-E576-4885-A140-869A0A8C59AD}" destId="{C65DB80A-C3DD-4BF6-9106-3A0C873F36BD}" srcOrd="2" destOrd="0" presId="urn:microsoft.com/office/officeart/2005/8/layout/hList7"/>
    <dgm:cxn modelId="{6B96AFDA-E68C-4A08-92EC-1FA4CB477FF7}" type="presParOf" srcId="{7DD935D7-E576-4885-A140-869A0A8C59AD}" destId="{7EB3CF67-F3A3-4AAD-84E2-A46572D21829}" srcOrd="3" destOrd="0" presId="urn:microsoft.com/office/officeart/2005/8/layout/hList7"/>
    <dgm:cxn modelId="{B240651C-19A9-4B03-9F2F-BB8008750996}" type="presParOf" srcId="{1B898F54-DF76-4D7D-853C-57EB11A2DC8F}" destId="{75665C4D-7C51-4917-A5D8-7A2CE65EE1A1}" srcOrd="1" destOrd="0" presId="urn:microsoft.com/office/officeart/2005/8/layout/hList7"/>
    <dgm:cxn modelId="{A97745B0-2689-4621-A169-8C507B9BE614}" type="presParOf" srcId="{1B898F54-DF76-4D7D-853C-57EB11A2DC8F}" destId="{ADD9B25C-4FFC-407A-B048-3D825B6765BD}" srcOrd="2" destOrd="0" presId="urn:microsoft.com/office/officeart/2005/8/layout/hList7"/>
    <dgm:cxn modelId="{B75F42E8-7A4B-43A8-BB6B-903E31AB72D1}" type="presParOf" srcId="{ADD9B25C-4FFC-407A-B048-3D825B6765BD}" destId="{7DD368CC-79AF-43C5-AD71-9B78D82936AC}" srcOrd="0" destOrd="0" presId="urn:microsoft.com/office/officeart/2005/8/layout/hList7"/>
    <dgm:cxn modelId="{F869F00A-2DB2-4DBC-8459-8806DD0BD12E}" type="presParOf" srcId="{ADD9B25C-4FFC-407A-B048-3D825B6765BD}" destId="{E3D1A8BB-D5CD-4D95-997E-B3FF757FA352}" srcOrd="1" destOrd="0" presId="urn:microsoft.com/office/officeart/2005/8/layout/hList7"/>
    <dgm:cxn modelId="{75CACAB3-2EAF-4AA1-9165-159221F5FFB9}" type="presParOf" srcId="{ADD9B25C-4FFC-407A-B048-3D825B6765BD}" destId="{A13E0AA9-2793-468D-A83B-0338FDC87197}" srcOrd="2" destOrd="0" presId="urn:microsoft.com/office/officeart/2005/8/layout/hList7"/>
    <dgm:cxn modelId="{158F7004-90D6-4140-8DBA-8D897CC1D736}" type="presParOf" srcId="{ADD9B25C-4FFC-407A-B048-3D825B6765BD}" destId="{18E34041-8483-44C6-8EAF-A4BC98EFFFE3}" srcOrd="3" destOrd="0" presId="urn:microsoft.com/office/officeart/2005/8/layout/hList7"/>
    <dgm:cxn modelId="{E7C5B668-C566-4FB6-ACA3-B92E90F58424}" type="presParOf" srcId="{1B898F54-DF76-4D7D-853C-57EB11A2DC8F}" destId="{DA37BFE9-76AA-41ED-896F-DD444AE3F385}" srcOrd="3" destOrd="0" presId="urn:microsoft.com/office/officeart/2005/8/layout/hList7"/>
    <dgm:cxn modelId="{13FB224C-D642-4D08-B582-5D233882EAD4}" type="presParOf" srcId="{1B898F54-DF76-4D7D-853C-57EB11A2DC8F}" destId="{8179ADA3-E0BE-4F6E-AC63-B608EC8F2FFE}" srcOrd="4" destOrd="0" presId="urn:microsoft.com/office/officeart/2005/8/layout/hList7"/>
    <dgm:cxn modelId="{CEABCE13-9EDD-4769-ABAC-6ADF7640FA85}" type="presParOf" srcId="{8179ADA3-E0BE-4F6E-AC63-B608EC8F2FFE}" destId="{BFE345B5-20FD-4077-94C2-1A4517F6A43D}" srcOrd="0" destOrd="0" presId="urn:microsoft.com/office/officeart/2005/8/layout/hList7"/>
    <dgm:cxn modelId="{1D4D7410-DEAD-4C14-AB19-B1AFA2D1504E}" type="presParOf" srcId="{8179ADA3-E0BE-4F6E-AC63-B608EC8F2FFE}" destId="{12D69794-5A87-497A-BC8C-9FB32D0A37AA}" srcOrd="1" destOrd="0" presId="urn:microsoft.com/office/officeart/2005/8/layout/hList7"/>
    <dgm:cxn modelId="{8A707082-13B9-4468-96BB-20A8454EF5A9}" type="presParOf" srcId="{8179ADA3-E0BE-4F6E-AC63-B608EC8F2FFE}" destId="{935CDFB4-F4C4-4DEA-8994-29A26134CE31}" srcOrd="2" destOrd="0" presId="urn:microsoft.com/office/officeart/2005/8/layout/hList7"/>
    <dgm:cxn modelId="{1A178F72-E34D-424C-B02F-DA995C8589C6}" type="presParOf" srcId="{8179ADA3-E0BE-4F6E-AC63-B608EC8F2FFE}" destId="{7AFFFBEC-640B-4D26-AFC6-05791A689971}"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250EA374-DD71-4B97-A328-3E4B74275677}" type="doc">
      <dgm:prSet loTypeId="urn:microsoft.com/office/officeart/2009/3/layout/StepUpProcess" loCatId="process" qsTypeId="urn:microsoft.com/office/officeart/2005/8/quickstyle/3d2" qsCatId="3D" csTypeId="urn:microsoft.com/office/officeart/2005/8/colors/accent1_2" csCatId="accent1" phldr="1"/>
      <dgm:spPr/>
      <dgm:t>
        <a:bodyPr/>
        <a:lstStyle/>
        <a:p>
          <a:endParaRPr lang="pt-BR"/>
        </a:p>
      </dgm:t>
    </dgm:pt>
    <dgm:pt modelId="{F387FBBF-C725-43F5-B5CF-7A0B24813792}">
      <dgm:prSet phldrT="[Texto]" custT="1"/>
      <dgm:spPr/>
      <dgm:t>
        <a:bodyPr/>
        <a:lstStyle/>
        <a:p>
          <a:r>
            <a:rPr lang="pt-BR" sz="2400" dirty="0"/>
            <a:t>Fomento</a:t>
          </a:r>
        </a:p>
      </dgm:t>
    </dgm:pt>
    <dgm:pt modelId="{A893D291-664D-42F3-89BD-0F516E99DD5A}" type="parTrans" cxnId="{499FAF09-1CDC-4DB1-8A64-9873C383FC67}">
      <dgm:prSet/>
      <dgm:spPr/>
      <dgm:t>
        <a:bodyPr/>
        <a:lstStyle/>
        <a:p>
          <a:endParaRPr lang="pt-BR" sz="2400"/>
        </a:p>
      </dgm:t>
    </dgm:pt>
    <dgm:pt modelId="{EAFCC41C-2EE2-4D4A-98C1-EF92994F118B}" type="sibTrans" cxnId="{499FAF09-1CDC-4DB1-8A64-9873C383FC67}">
      <dgm:prSet/>
      <dgm:spPr/>
      <dgm:t>
        <a:bodyPr/>
        <a:lstStyle/>
        <a:p>
          <a:endParaRPr lang="pt-BR" sz="2400"/>
        </a:p>
      </dgm:t>
    </dgm:pt>
    <dgm:pt modelId="{99A3405F-4677-443B-8E51-9F243BAF1BF0}">
      <dgm:prSet phldrT="[Texto]" custT="1"/>
      <dgm:spPr/>
      <dgm:t>
        <a:bodyPr/>
        <a:lstStyle/>
        <a:p>
          <a:r>
            <a:rPr lang="pt-BR" sz="2400" dirty="0"/>
            <a:t>Avaliação</a:t>
          </a:r>
        </a:p>
      </dgm:t>
    </dgm:pt>
    <dgm:pt modelId="{21D5EB97-6FCC-4D55-90B3-17F58F7E092A}" type="parTrans" cxnId="{D6456D7D-E34F-494E-B2F0-21F89DE078A0}">
      <dgm:prSet/>
      <dgm:spPr/>
      <dgm:t>
        <a:bodyPr/>
        <a:lstStyle/>
        <a:p>
          <a:endParaRPr lang="pt-BR" sz="2400"/>
        </a:p>
      </dgm:t>
    </dgm:pt>
    <dgm:pt modelId="{CC3537CF-C79D-4015-93B4-482A4ECE0AC4}" type="sibTrans" cxnId="{D6456D7D-E34F-494E-B2F0-21F89DE078A0}">
      <dgm:prSet/>
      <dgm:spPr/>
      <dgm:t>
        <a:bodyPr/>
        <a:lstStyle/>
        <a:p>
          <a:endParaRPr lang="pt-BR" sz="2400"/>
        </a:p>
      </dgm:t>
    </dgm:pt>
    <dgm:pt modelId="{627E58FE-D27C-4D96-B72A-AF1CC8703BA8}">
      <dgm:prSet phldrT="[Texto]" custT="1"/>
      <dgm:spPr/>
      <dgm:t>
        <a:bodyPr/>
        <a:lstStyle/>
        <a:p>
          <a:r>
            <a:rPr lang="pt-BR" sz="2400" dirty="0"/>
            <a:t>Apropriação do processo de GR da unidade</a:t>
          </a:r>
        </a:p>
      </dgm:t>
    </dgm:pt>
    <dgm:pt modelId="{4A92A3F5-176B-49B7-95FA-6D10E641FD22}" type="parTrans" cxnId="{FBB35FD7-1C40-45DB-946C-4E2117CD2C09}">
      <dgm:prSet/>
      <dgm:spPr/>
      <dgm:t>
        <a:bodyPr/>
        <a:lstStyle/>
        <a:p>
          <a:endParaRPr lang="pt-BR" sz="2400"/>
        </a:p>
      </dgm:t>
    </dgm:pt>
    <dgm:pt modelId="{B67A00C9-8C17-4C62-8994-E13CE7A7A6E7}" type="sibTrans" cxnId="{FBB35FD7-1C40-45DB-946C-4E2117CD2C09}">
      <dgm:prSet/>
      <dgm:spPr/>
      <dgm:t>
        <a:bodyPr/>
        <a:lstStyle/>
        <a:p>
          <a:endParaRPr lang="pt-BR" sz="2400"/>
        </a:p>
      </dgm:t>
    </dgm:pt>
    <dgm:pt modelId="{010BF114-7D82-4506-8B79-464523063A90}">
      <dgm:prSet phldrT="[Texto]" custT="1"/>
      <dgm:spPr/>
      <dgm:t>
        <a:bodyPr/>
        <a:lstStyle/>
        <a:p>
          <a:r>
            <a:rPr lang="pt-BR" sz="2400"/>
            <a:t>Apoio/suporte</a:t>
          </a:r>
          <a:endParaRPr lang="pt-BR" sz="2400" dirty="0"/>
        </a:p>
      </dgm:t>
    </dgm:pt>
    <dgm:pt modelId="{EFE4C868-E8DA-4D19-97F7-6B7147A8153C}" type="parTrans" cxnId="{BC742FC6-8AE1-4739-BB95-2349BBE0B501}">
      <dgm:prSet/>
      <dgm:spPr/>
      <dgm:t>
        <a:bodyPr/>
        <a:lstStyle/>
        <a:p>
          <a:endParaRPr lang="pt-BR" sz="2400"/>
        </a:p>
      </dgm:t>
    </dgm:pt>
    <dgm:pt modelId="{9457BF14-977B-402E-A387-A4FC525E9C11}" type="sibTrans" cxnId="{BC742FC6-8AE1-4739-BB95-2349BBE0B501}">
      <dgm:prSet/>
      <dgm:spPr/>
      <dgm:t>
        <a:bodyPr/>
        <a:lstStyle/>
        <a:p>
          <a:endParaRPr lang="pt-BR" sz="2400"/>
        </a:p>
      </dgm:t>
    </dgm:pt>
    <dgm:pt modelId="{8616C91B-1A6B-4371-8B40-B6B2CC908B74}" type="pres">
      <dgm:prSet presAssocID="{250EA374-DD71-4B97-A328-3E4B74275677}" presName="rootnode" presStyleCnt="0">
        <dgm:presLayoutVars>
          <dgm:chMax/>
          <dgm:chPref/>
          <dgm:dir/>
          <dgm:animLvl val="lvl"/>
        </dgm:presLayoutVars>
      </dgm:prSet>
      <dgm:spPr/>
    </dgm:pt>
    <dgm:pt modelId="{1C5908D4-D6B9-4957-A23E-424D5E4EDADF}" type="pres">
      <dgm:prSet presAssocID="{F387FBBF-C725-43F5-B5CF-7A0B24813792}" presName="composite" presStyleCnt="0"/>
      <dgm:spPr/>
    </dgm:pt>
    <dgm:pt modelId="{241261D6-47C3-48B0-8A29-8BB5F8281222}" type="pres">
      <dgm:prSet presAssocID="{F387FBBF-C725-43F5-B5CF-7A0B24813792}" presName="LShape" presStyleLbl="alignNode1" presStyleIdx="0" presStyleCnt="7"/>
      <dgm:spPr>
        <a:solidFill>
          <a:schemeClr val="tx2">
            <a:lumMod val="75000"/>
          </a:schemeClr>
        </a:solidFill>
      </dgm:spPr>
    </dgm:pt>
    <dgm:pt modelId="{2C1CF010-2521-4DB3-BBE6-8CD369D82996}" type="pres">
      <dgm:prSet presAssocID="{F387FBBF-C725-43F5-B5CF-7A0B24813792}" presName="ParentText" presStyleLbl="revTx" presStyleIdx="0" presStyleCnt="4">
        <dgm:presLayoutVars>
          <dgm:chMax val="0"/>
          <dgm:chPref val="0"/>
          <dgm:bulletEnabled val="1"/>
        </dgm:presLayoutVars>
      </dgm:prSet>
      <dgm:spPr/>
    </dgm:pt>
    <dgm:pt modelId="{5093C2B9-A475-41E4-97DE-DA06149FA686}" type="pres">
      <dgm:prSet presAssocID="{F387FBBF-C725-43F5-B5CF-7A0B24813792}" presName="Triangle" presStyleLbl="alignNode1" presStyleIdx="1" presStyleCnt="7"/>
      <dgm:spPr>
        <a:solidFill>
          <a:schemeClr val="tx2">
            <a:lumMod val="75000"/>
          </a:schemeClr>
        </a:solidFill>
      </dgm:spPr>
    </dgm:pt>
    <dgm:pt modelId="{210FAC94-CE6D-46B7-A9DC-8AAA1DDD5619}" type="pres">
      <dgm:prSet presAssocID="{EAFCC41C-2EE2-4D4A-98C1-EF92994F118B}" presName="sibTrans" presStyleCnt="0"/>
      <dgm:spPr/>
    </dgm:pt>
    <dgm:pt modelId="{9BCC7C2D-4829-4610-9323-7F53751C54FF}" type="pres">
      <dgm:prSet presAssocID="{EAFCC41C-2EE2-4D4A-98C1-EF92994F118B}" presName="space" presStyleCnt="0"/>
      <dgm:spPr/>
    </dgm:pt>
    <dgm:pt modelId="{2FF10804-3AF7-4A89-86E0-BAADA9D582C6}" type="pres">
      <dgm:prSet presAssocID="{010BF114-7D82-4506-8B79-464523063A90}" presName="composite" presStyleCnt="0"/>
      <dgm:spPr/>
    </dgm:pt>
    <dgm:pt modelId="{ABE11E67-26AF-4037-8C4C-529656F213E4}" type="pres">
      <dgm:prSet presAssocID="{010BF114-7D82-4506-8B79-464523063A90}" presName="LShape" presStyleLbl="alignNode1" presStyleIdx="2" presStyleCnt="7"/>
      <dgm:spPr>
        <a:solidFill>
          <a:schemeClr val="tx2">
            <a:lumMod val="75000"/>
          </a:schemeClr>
        </a:solidFill>
      </dgm:spPr>
    </dgm:pt>
    <dgm:pt modelId="{97FA9CDA-A651-4F7A-A213-BC2134E779E0}" type="pres">
      <dgm:prSet presAssocID="{010BF114-7D82-4506-8B79-464523063A90}" presName="ParentText" presStyleLbl="revTx" presStyleIdx="1" presStyleCnt="4">
        <dgm:presLayoutVars>
          <dgm:chMax val="0"/>
          <dgm:chPref val="0"/>
          <dgm:bulletEnabled val="1"/>
        </dgm:presLayoutVars>
      </dgm:prSet>
      <dgm:spPr/>
    </dgm:pt>
    <dgm:pt modelId="{6BAE74F6-40EE-421F-81BC-83DD293161C2}" type="pres">
      <dgm:prSet presAssocID="{010BF114-7D82-4506-8B79-464523063A90}" presName="Triangle" presStyleLbl="alignNode1" presStyleIdx="3" presStyleCnt="7"/>
      <dgm:spPr>
        <a:solidFill>
          <a:schemeClr val="tx2">
            <a:lumMod val="75000"/>
          </a:schemeClr>
        </a:solidFill>
      </dgm:spPr>
    </dgm:pt>
    <dgm:pt modelId="{F1A54620-2269-45DF-A071-04F0A8700A82}" type="pres">
      <dgm:prSet presAssocID="{9457BF14-977B-402E-A387-A4FC525E9C11}" presName="sibTrans" presStyleCnt="0"/>
      <dgm:spPr/>
    </dgm:pt>
    <dgm:pt modelId="{5708BE89-7A75-4AEB-90BA-D27982CFABF7}" type="pres">
      <dgm:prSet presAssocID="{9457BF14-977B-402E-A387-A4FC525E9C11}" presName="space" presStyleCnt="0"/>
      <dgm:spPr/>
    </dgm:pt>
    <dgm:pt modelId="{53CA840F-408C-4CFE-9F41-1907D91DC715}" type="pres">
      <dgm:prSet presAssocID="{627E58FE-D27C-4D96-B72A-AF1CC8703BA8}" presName="composite" presStyleCnt="0"/>
      <dgm:spPr/>
    </dgm:pt>
    <dgm:pt modelId="{5B25B90A-CCDC-4988-BE6D-D7BE0835D1D1}" type="pres">
      <dgm:prSet presAssocID="{627E58FE-D27C-4D96-B72A-AF1CC8703BA8}" presName="LShape" presStyleLbl="alignNode1" presStyleIdx="4" presStyleCnt="7"/>
      <dgm:spPr>
        <a:solidFill>
          <a:schemeClr val="tx2">
            <a:lumMod val="75000"/>
          </a:schemeClr>
        </a:solidFill>
      </dgm:spPr>
    </dgm:pt>
    <dgm:pt modelId="{BC781544-DCFC-44C8-8F61-8088E19F6570}" type="pres">
      <dgm:prSet presAssocID="{627E58FE-D27C-4D96-B72A-AF1CC8703BA8}" presName="ParentText" presStyleLbl="revTx" presStyleIdx="2" presStyleCnt="4">
        <dgm:presLayoutVars>
          <dgm:chMax val="0"/>
          <dgm:chPref val="0"/>
          <dgm:bulletEnabled val="1"/>
        </dgm:presLayoutVars>
      </dgm:prSet>
      <dgm:spPr/>
    </dgm:pt>
    <dgm:pt modelId="{D9FA05A5-F441-4BE1-9028-374611C6B959}" type="pres">
      <dgm:prSet presAssocID="{627E58FE-D27C-4D96-B72A-AF1CC8703BA8}" presName="Triangle" presStyleLbl="alignNode1" presStyleIdx="5" presStyleCnt="7"/>
      <dgm:spPr>
        <a:solidFill>
          <a:schemeClr val="tx2">
            <a:lumMod val="75000"/>
          </a:schemeClr>
        </a:solidFill>
      </dgm:spPr>
    </dgm:pt>
    <dgm:pt modelId="{A3148520-DD08-475D-9542-32EBD27C5588}" type="pres">
      <dgm:prSet presAssocID="{B67A00C9-8C17-4C62-8994-E13CE7A7A6E7}" presName="sibTrans" presStyleCnt="0"/>
      <dgm:spPr/>
    </dgm:pt>
    <dgm:pt modelId="{0F73AB7A-E225-46C1-A145-B7FB69AA7B1C}" type="pres">
      <dgm:prSet presAssocID="{B67A00C9-8C17-4C62-8994-E13CE7A7A6E7}" presName="space" presStyleCnt="0"/>
      <dgm:spPr/>
    </dgm:pt>
    <dgm:pt modelId="{5026435C-3C70-41F8-8AFA-59EBA0C02FC7}" type="pres">
      <dgm:prSet presAssocID="{99A3405F-4677-443B-8E51-9F243BAF1BF0}" presName="composite" presStyleCnt="0"/>
      <dgm:spPr/>
    </dgm:pt>
    <dgm:pt modelId="{327B27A6-5F18-47BC-A287-A43F2559EFFF}" type="pres">
      <dgm:prSet presAssocID="{99A3405F-4677-443B-8E51-9F243BAF1BF0}" presName="LShape" presStyleLbl="alignNode1" presStyleIdx="6" presStyleCnt="7"/>
      <dgm:spPr>
        <a:solidFill>
          <a:schemeClr val="tx2">
            <a:lumMod val="75000"/>
          </a:schemeClr>
        </a:solidFill>
      </dgm:spPr>
    </dgm:pt>
    <dgm:pt modelId="{299F5000-FBA2-4355-836A-CA1B5D73BF78}" type="pres">
      <dgm:prSet presAssocID="{99A3405F-4677-443B-8E51-9F243BAF1BF0}" presName="ParentText" presStyleLbl="revTx" presStyleIdx="3" presStyleCnt="4">
        <dgm:presLayoutVars>
          <dgm:chMax val="0"/>
          <dgm:chPref val="0"/>
          <dgm:bulletEnabled val="1"/>
        </dgm:presLayoutVars>
      </dgm:prSet>
      <dgm:spPr/>
    </dgm:pt>
  </dgm:ptLst>
  <dgm:cxnLst>
    <dgm:cxn modelId="{499FAF09-1CDC-4DB1-8A64-9873C383FC67}" srcId="{250EA374-DD71-4B97-A328-3E4B74275677}" destId="{F387FBBF-C725-43F5-B5CF-7A0B24813792}" srcOrd="0" destOrd="0" parTransId="{A893D291-664D-42F3-89BD-0F516E99DD5A}" sibTransId="{EAFCC41C-2EE2-4D4A-98C1-EF92994F118B}"/>
    <dgm:cxn modelId="{53879912-37C6-4C30-83CB-90EC8DD45C63}" type="presOf" srcId="{250EA374-DD71-4B97-A328-3E4B74275677}" destId="{8616C91B-1A6B-4371-8B40-B6B2CC908B74}" srcOrd="0" destOrd="0" presId="urn:microsoft.com/office/officeart/2009/3/layout/StepUpProcess"/>
    <dgm:cxn modelId="{FA86C223-1507-4AFD-ACDA-F7210C78C39A}" type="presOf" srcId="{99A3405F-4677-443B-8E51-9F243BAF1BF0}" destId="{299F5000-FBA2-4355-836A-CA1B5D73BF78}" srcOrd="0" destOrd="0" presId="urn:microsoft.com/office/officeart/2009/3/layout/StepUpProcess"/>
    <dgm:cxn modelId="{D6456D7D-E34F-494E-B2F0-21F89DE078A0}" srcId="{250EA374-DD71-4B97-A328-3E4B74275677}" destId="{99A3405F-4677-443B-8E51-9F243BAF1BF0}" srcOrd="3" destOrd="0" parTransId="{21D5EB97-6FCC-4D55-90B3-17F58F7E092A}" sibTransId="{CC3537CF-C79D-4015-93B4-482A4ECE0AC4}"/>
    <dgm:cxn modelId="{04881784-2CC8-45D4-8456-5DFEE97438A6}" type="presOf" srcId="{F387FBBF-C725-43F5-B5CF-7A0B24813792}" destId="{2C1CF010-2521-4DB3-BBE6-8CD369D82996}" srcOrd="0" destOrd="0" presId="urn:microsoft.com/office/officeart/2009/3/layout/StepUpProcess"/>
    <dgm:cxn modelId="{3B9C8A8E-A4BE-408F-87CC-AFA95ED04012}" type="presOf" srcId="{010BF114-7D82-4506-8B79-464523063A90}" destId="{97FA9CDA-A651-4F7A-A213-BC2134E779E0}" srcOrd="0" destOrd="0" presId="urn:microsoft.com/office/officeart/2009/3/layout/StepUpProcess"/>
    <dgm:cxn modelId="{BC742FC6-8AE1-4739-BB95-2349BBE0B501}" srcId="{250EA374-DD71-4B97-A328-3E4B74275677}" destId="{010BF114-7D82-4506-8B79-464523063A90}" srcOrd="1" destOrd="0" parTransId="{EFE4C868-E8DA-4D19-97F7-6B7147A8153C}" sibTransId="{9457BF14-977B-402E-A387-A4FC525E9C11}"/>
    <dgm:cxn modelId="{FBB35FD7-1C40-45DB-946C-4E2117CD2C09}" srcId="{250EA374-DD71-4B97-A328-3E4B74275677}" destId="{627E58FE-D27C-4D96-B72A-AF1CC8703BA8}" srcOrd="2" destOrd="0" parTransId="{4A92A3F5-176B-49B7-95FA-6D10E641FD22}" sibTransId="{B67A00C9-8C17-4C62-8994-E13CE7A7A6E7}"/>
    <dgm:cxn modelId="{1FB357F4-22CF-43C2-9F85-359E659A3FCA}" type="presOf" srcId="{627E58FE-D27C-4D96-B72A-AF1CC8703BA8}" destId="{BC781544-DCFC-44C8-8F61-8088E19F6570}" srcOrd="0" destOrd="0" presId="urn:microsoft.com/office/officeart/2009/3/layout/StepUpProcess"/>
    <dgm:cxn modelId="{EAF3BC08-8252-4858-931D-D553FE2DE26D}" type="presParOf" srcId="{8616C91B-1A6B-4371-8B40-B6B2CC908B74}" destId="{1C5908D4-D6B9-4957-A23E-424D5E4EDADF}" srcOrd="0" destOrd="0" presId="urn:microsoft.com/office/officeart/2009/3/layout/StepUpProcess"/>
    <dgm:cxn modelId="{FB0C3C6C-08D5-4863-A764-00A85CD0FF3D}" type="presParOf" srcId="{1C5908D4-D6B9-4957-A23E-424D5E4EDADF}" destId="{241261D6-47C3-48B0-8A29-8BB5F8281222}" srcOrd="0" destOrd="0" presId="urn:microsoft.com/office/officeart/2009/3/layout/StepUpProcess"/>
    <dgm:cxn modelId="{45DF9073-1B9B-4D0F-9DA3-CDFE2F37C232}" type="presParOf" srcId="{1C5908D4-D6B9-4957-A23E-424D5E4EDADF}" destId="{2C1CF010-2521-4DB3-BBE6-8CD369D82996}" srcOrd="1" destOrd="0" presId="urn:microsoft.com/office/officeart/2009/3/layout/StepUpProcess"/>
    <dgm:cxn modelId="{C98AE5A0-AB3F-4DB4-9015-1D700A83ACE5}" type="presParOf" srcId="{1C5908D4-D6B9-4957-A23E-424D5E4EDADF}" destId="{5093C2B9-A475-41E4-97DE-DA06149FA686}" srcOrd="2" destOrd="0" presId="urn:microsoft.com/office/officeart/2009/3/layout/StepUpProcess"/>
    <dgm:cxn modelId="{BC22438E-8118-4737-AAEA-22D89CA0A10F}" type="presParOf" srcId="{8616C91B-1A6B-4371-8B40-B6B2CC908B74}" destId="{210FAC94-CE6D-46B7-A9DC-8AAA1DDD5619}" srcOrd="1" destOrd="0" presId="urn:microsoft.com/office/officeart/2009/3/layout/StepUpProcess"/>
    <dgm:cxn modelId="{C1B55F90-06E3-4E21-A32C-80012F17FD94}" type="presParOf" srcId="{210FAC94-CE6D-46B7-A9DC-8AAA1DDD5619}" destId="{9BCC7C2D-4829-4610-9323-7F53751C54FF}" srcOrd="0" destOrd="0" presId="urn:microsoft.com/office/officeart/2009/3/layout/StepUpProcess"/>
    <dgm:cxn modelId="{E66472CD-E537-4BB9-AA4A-10535D792BB0}" type="presParOf" srcId="{8616C91B-1A6B-4371-8B40-B6B2CC908B74}" destId="{2FF10804-3AF7-4A89-86E0-BAADA9D582C6}" srcOrd="2" destOrd="0" presId="urn:microsoft.com/office/officeart/2009/3/layout/StepUpProcess"/>
    <dgm:cxn modelId="{0977696C-E8BB-47BE-84D1-6BD20F42BF7E}" type="presParOf" srcId="{2FF10804-3AF7-4A89-86E0-BAADA9D582C6}" destId="{ABE11E67-26AF-4037-8C4C-529656F213E4}" srcOrd="0" destOrd="0" presId="urn:microsoft.com/office/officeart/2009/3/layout/StepUpProcess"/>
    <dgm:cxn modelId="{47E6D214-64A3-4BF9-89CA-7C3BA202DC27}" type="presParOf" srcId="{2FF10804-3AF7-4A89-86E0-BAADA9D582C6}" destId="{97FA9CDA-A651-4F7A-A213-BC2134E779E0}" srcOrd="1" destOrd="0" presId="urn:microsoft.com/office/officeart/2009/3/layout/StepUpProcess"/>
    <dgm:cxn modelId="{02472E59-DD6B-471B-AEDF-DE83FB967EE2}" type="presParOf" srcId="{2FF10804-3AF7-4A89-86E0-BAADA9D582C6}" destId="{6BAE74F6-40EE-421F-81BC-83DD293161C2}" srcOrd="2" destOrd="0" presId="urn:microsoft.com/office/officeart/2009/3/layout/StepUpProcess"/>
    <dgm:cxn modelId="{0146541C-62D3-4663-AF3B-EF5B70C41F0C}" type="presParOf" srcId="{8616C91B-1A6B-4371-8B40-B6B2CC908B74}" destId="{F1A54620-2269-45DF-A071-04F0A8700A82}" srcOrd="3" destOrd="0" presId="urn:microsoft.com/office/officeart/2009/3/layout/StepUpProcess"/>
    <dgm:cxn modelId="{6F70427F-29E3-4B31-ACDA-EB442A92B9F5}" type="presParOf" srcId="{F1A54620-2269-45DF-A071-04F0A8700A82}" destId="{5708BE89-7A75-4AEB-90BA-D27982CFABF7}" srcOrd="0" destOrd="0" presId="urn:microsoft.com/office/officeart/2009/3/layout/StepUpProcess"/>
    <dgm:cxn modelId="{5A5259EF-010A-46EE-8E2B-CAAF9D3D7CC8}" type="presParOf" srcId="{8616C91B-1A6B-4371-8B40-B6B2CC908B74}" destId="{53CA840F-408C-4CFE-9F41-1907D91DC715}" srcOrd="4" destOrd="0" presId="urn:microsoft.com/office/officeart/2009/3/layout/StepUpProcess"/>
    <dgm:cxn modelId="{559BEF92-A850-49AE-B36C-12B3C2ECECE6}" type="presParOf" srcId="{53CA840F-408C-4CFE-9F41-1907D91DC715}" destId="{5B25B90A-CCDC-4988-BE6D-D7BE0835D1D1}" srcOrd="0" destOrd="0" presId="urn:microsoft.com/office/officeart/2009/3/layout/StepUpProcess"/>
    <dgm:cxn modelId="{81CFC075-2A8E-4AAC-81D5-7AA9F88A1234}" type="presParOf" srcId="{53CA840F-408C-4CFE-9F41-1907D91DC715}" destId="{BC781544-DCFC-44C8-8F61-8088E19F6570}" srcOrd="1" destOrd="0" presId="urn:microsoft.com/office/officeart/2009/3/layout/StepUpProcess"/>
    <dgm:cxn modelId="{E3277B2A-3A41-4923-ABB3-F788303E9A42}" type="presParOf" srcId="{53CA840F-408C-4CFE-9F41-1907D91DC715}" destId="{D9FA05A5-F441-4BE1-9028-374611C6B959}" srcOrd="2" destOrd="0" presId="urn:microsoft.com/office/officeart/2009/3/layout/StepUpProcess"/>
    <dgm:cxn modelId="{611BF250-372A-40EE-AABB-A83AFD03B5F3}" type="presParOf" srcId="{8616C91B-1A6B-4371-8B40-B6B2CC908B74}" destId="{A3148520-DD08-475D-9542-32EBD27C5588}" srcOrd="5" destOrd="0" presId="urn:microsoft.com/office/officeart/2009/3/layout/StepUpProcess"/>
    <dgm:cxn modelId="{53BB46C7-3BFE-42FD-8728-C56CEEA173CE}" type="presParOf" srcId="{A3148520-DD08-475D-9542-32EBD27C5588}" destId="{0F73AB7A-E225-46C1-A145-B7FB69AA7B1C}" srcOrd="0" destOrd="0" presId="urn:microsoft.com/office/officeart/2009/3/layout/StepUpProcess"/>
    <dgm:cxn modelId="{3814A5BC-57A5-4B9B-90F7-1B91F7B317C5}" type="presParOf" srcId="{8616C91B-1A6B-4371-8B40-B6B2CC908B74}" destId="{5026435C-3C70-41F8-8AFA-59EBA0C02FC7}" srcOrd="6" destOrd="0" presId="urn:microsoft.com/office/officeart/2009/3/layout/StepUpProcess"/>
    <dgm:cxn modelId="{1214BD6C-9CAC-483C-94FF-E805EEC6ECCC}" type="presParOf" srcId="{5026435C-3C70-41F8-8AFA-59EBA0C02FC7}" destId="{327B27A6-5F18-47BC-A287-A43F2559EFFF}" srcOrd="0" destOrd="0" presId="urn:microsoft.com/office/officeart/2009/3/layout/StepUpProcess"/>
    <dgm:cxn modelId="{C4A443A3-335D-43C8-9BAC-18C185A93FDC}" type="presParOf" srcId="{5026435C-3C70-41F8-8AFA-59EBA0C02FC7}" destId="{299F5000-FBA2-4355-836A-CA1B5D73BF78}"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61BD7C9-FEEA-4091-A55E-B59E243001CD}" type="doc">
      <dgm:prSet loTypeId="urn:microsoft.com/office/officeart/2005/8/layout/cycle5" loCatId="cycle" qsTypeId="urn:microsoft.com/office/officeart/2005/8/quickstyle/simple1" qsCatId="simple" csTypeId="urn:microsoft.com/office/officeart/2005/8/colors/colorful3" csCatId="colorful" phldr="1"/>
      <dgm:spPr/>
      <dgm:t>
        <a:bodyPr/>
        <a:lstStyle/>
        <a:p>
          <a:endParaRPr lang="pt-BR"/>
        </a:p>
      </dgm:t>
    </dgm:pt>
    <dgm:pt modelId="{2C9FC95F-7356-4E44-A339-46727567DA08}">
      <dgm:prSet phldrT="[Texto]" custT="1"/>
      <dgm:spPr>
        <a:solidFill>
          <a:schemeClr val="accent1">
            <a:lumMod val="75000"/>
          </a:schemeClr>
        </a:solidFill>
      </dgm:spPr>
      <dgm:t>
        <a:bodyPr/>
        <a:lstStyle/>
        <a:p>
          <a:r>
            <a:rPr lang="pt-BR" sz="2800" dirty="0"/>
            <a:t>Composto pelo dirigente máximo e pelos dirigentes das unidades a ele diretamente subordinadas</a:t>
          </a:r>
        </a:p>
      </dgm:t>
    </dgm:pt>
    <dgm:pt modelId="{25D1CC9E-EF64-4941-A8DF-23AFF3F24607}" type="parTrans" cxnId="{5ABA6FD5-AD28-4219-963E-A52744A1DD04}">
      <dgm:prSet/>
      <dgm:spPr/>
      <dgm:t>
        <a:bodyPr/>
        <a:lstStyle/>
        <a:p>
          <a:endParaRPr lang="pt-BR"/>
        </a:p>
      </dgm:t>
    </dgm:pt>
    <dgm:pt modelId="{C9689F68-9BAA-489D-A5EF-66386D98090D}" type="sibTrans" cxnId="{5ABA6FD5-AD28-4219-963E-A52744A1DD04}">
      <dgm:prSet/>
      <dgm:spPr/>
      <dgm:t>
        <a:bodyPr/>
        <a:lstStyle/>
        <a:p>
          <a:endParaRPr lang="pt-BR"/>
        </a:p>
      </dgm:t>
    </dgm:pt>
    <dgm:pt modelId="{7D03D6CA-82A7-4C70-B0E8-738D536828AF}" type="pres">
      <dgm:prSet presAssocID="{061BD7C9-FEEA-4091-A55E-B59E243001CD}" presName="cycle" presStyleCnt="0">
        <dgm:presLayoutVars>
          <dgm:dir/>
          <dgm:resizeHandles val="exact"/>
        </dgm:presLayoutVars>
      </dgm:prSet>
      <dgm:spPr/>
    </dgm:pt>
    <dgm:pt modelId="{BD5B9E97-242C-48D6-97A4-57D74DE6CDB6}" type="pres">
      <dgm:prSet presAssocID="{2C9FC95F-7356-4E44-A339-46727567DA08}" presName="node" presStyleLbl="node1" presStyleIdx="0" presStyleCnt="1" custScaleX="169785" custScaleY="161490" custRadScaleRad="87670" custRadScaleInc="-1161">
        <dgm:presLayoutVars>
          <dgm:bulletEnabled val="1"/>
        </dgm:presLayoutVars>
      </dgm:prSet>
      <dgm:spPr/>
    </dgm:pt>
  </dgm:ptLst>
  <dgm:cxnLst>
    <dgm:cxn modelId="{67E076CB-C679-4187-AAC2-658799E03754}" type="presOf" srcId="{2C9FC95F-7356-4E44-A339-46727567DA08}" destId="{BD5B9E97-242C-48D6-97A4-57D74DE6CDB6}" srcOrd="0" destOrd="0" presId="urn:microsoft.com/office/officeart/2005/8/layout/cycle5"/>
    <dgm:cxn modelId="{5ABA6FD5-AD28-4219-963E-A52744A1DD04}" srcId="{061BD7C9-FEEA-4091-A55E-B59E243001CD}" destId="{2C9FC95F-7356-4E44-A339-46727567DA08}" srcOrd="0" destOrd="0" parTransId="{25D1CC9E-EF64-4941-A8DF-23AFF3F24607}" sibTransId="{C9689F68-9BAA-489D-A5EF-66386D98090D}"/>
    <dgm:cxn modelId="{928D55D8-8EEF-4295-A205-8F7D39BCF331}" type="presOf" srcId="{061BD7C9-FEEA-4091-A55E-B59E243001CD}" destId="{7D03D6CA-82A7-4C70-B0E8-738D536828AF}" srcOrd="0" destOrd="0" presId="urn:microsoft.com/office/officeart/2005/8/layout/cycle5"/>
    <dgm:cxn modelId="{228F3833-783B-4FC3-A950-EA64D6330589}" type="presParOf" srcId="{7D03D6CA-82A7-4C70-B0E8-738D536828AF}" destId="{BD5B9E97-242C-48D6-97A4-57D74DE6CDB6}" srcOrd="0" destOrd="0" presId="urn:microsoft.com/office/officeart/2005/8/layout/cycle5"/>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BEF4251-F5FD-405E-B288-66B50C1005B4}" type="doc">
      <dgm:prSet loTypeId="urn:microsoft.com/office/officeart/2009/layout/CircleArrowProcess" loCatId="process" qsTypeId="urn:microsoft.com/office/officeart/2005/8/quickstyle/simple1" qsCatId="simple" csTypeId="urn:microsoft.com/office/officeart/2005/8/colors/accent1_2" csCatId="accent1" phldr="1"/>
      <dgm:spPr/>
      <dgm:t>
        <a:bodyPr/>
        <a:lstStyle/>
        <a:p>
          <a:endParaRPr lang="pt-BR"/>
        </a:p>
      </dgm:t>
    </dgm:pt>
    <dgm:pt modelId="{622C7A70-F69E-4867-AAC7-CEF92B7D02B2}">
      <dgm:prSet phldrT="[Texto]" custT="1"/>
      <dgm:spPr/>
      <dgm:t>
        <a:bodyPr/>
        <a:lstStyle/>
        <a:p>
          <a:r>
            <a:rPr lang="pt-BR" sz="2400" b="0" dirty="0"/>
            <a:t>Governança</a:t>
          </a:r>
        </a:p>
      </dgm:t>
    </dgm:pt>
    <dgm:pt modelId="{200762BD-731E-4CCF-85B3-778DAF03AB87}" type="parTrans" cxnId="{345A2A7C-7EB0-4A00-A800-1A3AC0FBCB93}">
      <dgm:prSet/>
      <dgm:spPr/>
      <dgm:t>
        <a:bodyPr/>
        <a:lstStyle/>
        <a:p>
          <a:endParaRPr lang="pt-BR"/>
        </a:p>
      </dgm:t>
    </dgm:pt>
    <dgm:pt modelId="{CFAB687D-F00C-4D1A-B08C-CD9D4FC5B842}" type="sibTrans" cxnId="{345A2A7C-7EB0-4A00-A800-1A3AC0FBCB93}">
      <dgm:prSet/>
      <dgm:spPr/>
      <dgm:t>
        <a:bodyPr/>
        <a:lstStyle/>
        <a:p>
          <a:endParaRPr lang="pt-BR"/>
        </a:p>
      </dgm:t>
    </dgm:pt>
    <dgm:pt modelId="{DFF9E99E-A57E-43F2-8916-16AEF636D243}">
      <dgm:prSet phldrT="[Texto]"/>
      <dgm:spPr/>
      <dgm:t>
        <a:bodyPr/>
        <a:lstStyle/>
        <a:p>
          <a:r>
            <a:rPr lang="pt-BR" dirty="0"/>
            <a:t>Conjunto eficiente de mecanismos</a:t>
          </a:r>
        </a:p>
      </dgm:t>
    </dgm:pt>
    <dgm:pt modelId="{ABA3C5CF-6924-418B-8A7F-0A4F092FA0FE}" type="parTrans" cxnId="{32FDA7AA-1B2D-4F66-93A9-AAAD4A31766B}">
      <dgm:prSet/>
      <dgm:spPr/>
      <dgm:t>
        <a:bodyPr/>
        <a:lstStyle/>
        <a:p>
          <a:endParaRPr lang="pt-BR"/>
        </a:p>
      </dgm:t>
    </dgm:pt>
    <dgm:pt modelId="{3D9396C8-9457-415C-9D23-D3D19C4A1F28}" type="sibTrans" cxnId="{32FDA7AA-1B2D-4F66-93A9-AAAD4A31766B}">
      <dgm:prSet/>
      <dgm:spPr/>
      <dgm:t>
        <a:bodyPr/>
        <a:lstStyle/>
        <a:p>
          <a:endParaRPr lang="pt-BR"/>
        </a:p>
      </dgm:t>
    </dgm:pt>
    <dgm:pt modelId="{57940841-87D8-4E89-8395-EDFD48FB1A66}">
      <dgm:prSet phldrT="[Texto]"/>
      <dgm:spPr/>
      <dgm:t>
        <a:bodyPr/>
        <a:lstStyle/>
        <a:p>
          <a:r>
            <a:rPr lang="pt-BR" dirty="0"/>
            <a:t>Ações alinhadas ao interesse público</a:t>
          </a:r>
        </a:p>
      </dgm:t>
    </dgm:pt>
    <dgm:pt modelId="{E779713E-CC7F-4ECE-AAA8-9F66434578AB}" type="parTrans" cxnId="{59D3FA74-B67B-4AA9-8C44-BD4EB1EAA279}">
      <dgm:prSet/>
      <dgm:spPr/>
      <dgm:t>
        <a:bodyPr/>
        <a:lstStyle/>
        <a:p>
          <a:endParaRPr lang="pt-BR"/>
        </a:p>
      </dgm:t>
    </dgm:pt>
    <dgm:pt modelId="{E2A501D0-1AD5-44C6-AA25-2BC293C64F2C}" type="sibTrans" cxnId="{59D3FA74-B67B-4AA9-8C44-BD4EB1EAA279}">
      <dgm:prSet/>
      <dgm:spPr/>
      <dgm:t>
        <a:bodyPr/>
        <a:lstStyle/>
        <a:p>
          <a:endParaRPr lang="pt-BR"/>
        </a:p>
      </dgm:t>
    </dgm:pt>
    <dgm:pt modelId="{384F5E6E-4432-440E-8EBB-B505364D1A71}" type="pres">
      <dgm:prSet presAssocID="{CBEF4251-F5FD-405E-B288-66B50C1005B4}" presName="Name0" presStyleCnt="0">
        <dgm:presLayoutVars>
          <dgm:chMax val="7"/>
          <dgm:chPref val="7"/>
          <dgm:dir/>
          <dgm:animLvl val="lvl"/>
        </dgm:presLayoutVars>
      </dgm:prSet>
      <dgm:spPr/>
    </dgm:pt>
    <dgm:pt modelId="{26EBA776-2AA7-4F65-9C8C-3916C3B106B0}" type="pres">
      <dgm:prSet presAssocID="{622C7A70-F69E-4867-AAC7-CEF92B7D02B2}" presName="Accent1" presStyleCnt="0"/>
      <dgm:spPr/>
    </dgm:pt>
    <dgm:pt modelId="{74D47AE1-241F-4130-819D-DDFCEB0FCC93}" type="pres">
      <dgm:prSet presAssocID="{622C7A70-F69E-4867-AAC7-CEF92B7D02B2}" presName="Accent" presStyleLbl="node1" presStyleIdx="0" presStyleCnt="3"/>
      <dgm:spPr>
        <a:solidFill>
          <a:schemeClr val="accent5">
            <a:lumMod val="75000"/>
          </a:schemeClr>
        </a:solidFill>
      </dgm:spPr>
    </dgm:pt>
    <dgm:pt modelId="{C8BC4908-88CF-468D-8ABC-5E6E75481236}" type="pres">
      <dgm:prSet presAssocID="{622C7A70-F69E-4867-AAC7-CEF92B7D02B2}" presName="Parent1" presStyleLbl="revTx" presStyleIdx="0" presStyleCnt="3">
        <dgm:presLayoutVars>
          <dgm:chMax val="1"/>
          <dgm:chPref val="1"/>
          <dgm:bulletEnabled val="1"/>
        </dgm:presLayoutVars>
      </dgm:prSet>
      <dgm:spPr/>
    </dgm:pt>
    <dgm:pt modelId="{1B7AB78D-6CFF-488C-8D9A-B52B2960CBCC}" type="pres">
      <dgm:prSet presAssocID="{DFF9E99E-A57E-43F2-8916-16AEF636D243}" presName="Accent2" presStyleCnt="0"/>
      <dgm:spPr/>
    </dgm:pt>
    <dgm:pt modelId="{CC9605E2-2D66-40E7-AE65-747D1EDA8207}" type="pres">
      <dgm:prSet presAssocID="{DFF9E99E-A57E-43F2-8916-16AEF636D243}" presName="Accent" presStyleLbl="node1" presStyleIdx="1" presStyleCnt="3"/>
      <dgm:spPr>
        <a:solidFill>
          <a:schemeClr val="accent5">
            <a:lumMod val="75000"/>
          </a:schemeClr>
        </a:solidFill>
      </dgm:spPr>
    </dgm:pt>
    <dgm:pt modelId="{070063A0-A1F8-49C0-BC27-20901FF53408}" type="pres">
      <dgm:prSet presAssocID="{DFF9E99E-A57E-43F2-8916-16AEF636D243}" presName="Parent2" presStyleLbl="revTx" presStyleIdx="1" presStyleCnt="3">
        <dgm:presLayoutVars>
          <dgm:chMax val="1"/>
          <dgm:chPref val="1"/>
          <dgm:bulletEnabled val="1"/>
        </dgm:presLayoutVars>
      </dgm:prSet>
      <dgm:spPr/>
    </dgm:pt>
    <dgm:pt modelId="{FD6A9020-58CE-4276-8DFE-0640DB91BAF5}" type="pres">
      <dgm:prSet presAssocID="{57940841-87D8-4E89-8395-EDFD48FB1A66}" presName="Accent3" presStyleCnt="0"/>
      <dgm:spPr/>
    </dgm:pt>
    <dgm:pt modelId="{04D7B820-44EE-4453-92B0-9BFD05EB838C}" type="pres">
      <dgm:prSet presAssocID="{57940841-87D8-4E89-8395-EDFD48FB1A66}" presName="Accent" presStyleLbl="node1" presStyleIdx="2" presStyleCnt="3"/>
      <dgm:spPr>
        <a:solidFill>
          <a:schemeClr val="accent5">
            <a:lumMod val="75000"/>
          </a:schemeClr>
        </a:solidFill>
      </dgm:spPr>
    </dgm:pt>
    <dgm:pt modelId="{532709A6-2AA5-427D-9370-FE6C40F500AF}" type="pres">
      <dgm:prSet presAssocID="{57940841-87D8-4E89-8395-EDFD48FB1A66}" presName="Parent3" presStyleLbl="revTx" presStyleIdx="2" presStyleCnt="3">
        <dgm:presLayoutVars>
          <dgm:chMax val="1"/>
          <dgm:chPref val="1"/>
          <dgm:bulletEnabled val="1"/>
        </dgm:presLayoutVars>
      </dgm:prSet>
      <dgm:spPr/>
    </dgm:pt>
  </dgm:ptLst>
  <dgm:cxnLst>
    <dgm:cxn modelId="{635B5407-84D8-4FC0-AC53-3570526518F8}" type="presOf" srcId="{CBEF4251-F5FD-405E-B288-66B50C1005B4}" destId="{384F5E6E-4432-440E-8EBB-B505364D1A71}" srcOrd="0" destOrd="0" presId="urn:microsoft.com/office/officeart/2009/layout/CircleArrowProcess"/>
    <dgm:cxn modelId="{3DDD3D61-CEA2-4894-B2F3-FE99D9D31E37}" type="presOf" srcId="{DFF9E99E-A57E-43F2-8916-16AEF636D243}" destId="{070063A0-A1F8-49C0-BC27-20901FF53408}" srcOrd="0" destOrd="0" presId="urn:microsoft.com/office/officeart/2009/layout/CircleArrowProcess"/>
    <dgm:cxn modelId="{E4088E66-8EDF-4FD1-9C08-4E56719BBA0A}" type="presOf" srcId="{622C7A70-F69E-4867-AAC7-CEF92B7D02B2}" destId="{C8BC4908-88CF-468D-8ABC-5E6E75481236}" srcOrd="0" destOrd="0" presId="urn:microsoft.com/office/officeart/2009/layout/CircleArrowProcess"/>
    <dgm:cxn modelId="{59D3FA74-B67B-4AA9-8C44-BD4EB1EAA279}" srcId="{CBEF4251-F5FD-405E-B288-66B50C1005B4}" destId="{57940841-87D8-4E89-8395-EDFD48FB1A66}" srcOrd="2" destOrd="0" parTransId="{E779713E-CC7F-4ECE-AAA8-9F66434578AB}" sibTransId="{E2A501D0-1AD5-44C6-AA25-2BC293C64F2C}"/>
    <dgm:cxn modelId="{345A2A7C-7EB0-4A00-A800-1A3AC0FBCB93}" srcId="{CBEF4251-F5FD-405E-B288-66B50C1005B4}" destId="{622C7A70-F69E-4867-AAC7-CEF92B7D02B2}" srcOrd="0" destOrd="0" parTransId="{200762BD-731E-4CCF-85B3-778DAF03AB87}" sibTransId="{CFAB687D-F00C-4D1A-B08C-CD9D4FC5B842}"/>
    <dgm:cxn modelId="{32FDA7AA-1B2D-4F66-93A9-AAAD4A31766B}" srcId="{CBEF4251-F5FD-405E-B288-66B50C1005B4}" destId="{DFF9E99E-A57E-43F2-8916-16AEF636D243}" srcOrd="1" destOrd="0" parTransId="{ABA3C5CF-6924-418B-8A7F-0A4F092FA0FE}" sibTransId="{3D9396C8-9457-415C-9D23-D3D19C4A1F28}"/>
    <dgm:cxn modelId="{BD3E0DE5-82D3-4D39-8B84-A68C79029E90}" type="presOf" srcId="{57940841-87D8-4E89-8395-EDFD48FB1A66}" destId="{532709A6-2AA5-427D-9370-FE6C40F500AF}" srcOrd="0" destOrd="0" presId="urn:microsoft.com/office/officeart/2009/layout/CircleArrowProcess"/>
    <dgm:cxn modelId="{8965A03E-03C9-4BB0-9727-7B45EB369B3F}" type="presParOf" srcId="{384F5E6E-4432-440E-8EBB-B505364D1A71}" destId="{26EBA776-2AA7-4F65-9C8C-3916C3B106B0}" srcOrd="0" destOrd="0" presId="urn:microsoft.com/office/officeart/2009/layout/CircleArrowProcess"/>
    <dgm:cxn modelId="{3D0C251C-2D02-4257-9480-9E23FAF6B991}" type="presParOf" srcId="{26EBA776-2AA7-4F65-9C8C-3916C3B106B0}" destId="{74D47AE1-241F-4130-819D-DDFCEB0FCC93}" srcOrd="0" destOrd="0" presId="urn:microsoft.com/office/officeart/2009/layout/CircleArrowProcess"/>
    <dgm:cxn modelId="{B40830BA-6450-4580-874C-B1D9972BC0B0}" type="presParOf" srcId="{384F5E6E-4432-440E-8EBB-B505364D1A71}" destId="{C8BC4908-88CF-468D-8ABC-5E6E75481236}" srcOrd="1" destOrd="0" presId="urn:microsoft.com/office/officeart/2009/layout/CircleArrowProcess"/>
    <dgm:cxn modelId="{A67E788C-C1B9-4260-B65F-CD887AE593D3}" type="presParOf" srcId="{384F5E6E-4432-440E-8EBB-B505364D1A71}" destId="{1B7AB78D-6CFF-488C-8D9A-B52B2960CBCC}" srcOrd="2" destOrd="0" presId="urn:microsoft.com/office/officeart/2009/layout/CircleArrowProcess"/>
    <dgm:cxn modelId="{F7D84BAE-1CCC-4447-AD00-8F3E8C9AB323}" type="presParOf" srcId="{1B7AB78D-6CFF-488C-8D9A-B52B2960CBCC}" destId="{CC9605E2-2D66-40E7-AE65-747D1EDA8207}" srcOrd="0" destOrd="0" presId="urn:microsoft.com/office/officeart/2009/layout/CircleArrowProcess"/>
    <dgm:cxn modelId="{AD784748-3A16-42EE-A5CA-34AAD91B6CAF}" type="presParOf" srcId="{384F5E6E-4432-440E-8EBB-B505364D1A71}" destId="{070063A0-A1F8-49C0-BC27-20901FF53408}" srcOrd="3" destOrd="0" presId="urn:microsoft.com/office/officeart/2009/layout/CircleArrowProcess"/>
    <dgm:cxn modelId="{546D0E8C-A33C-42F0-A9A0-DEB2EAD8336D}" type="presParOf" srcId="{384F5E6E-4432-440E-8EBB-B505364D1A71}" destId="{FD6A9020-58CE-4276-8DFE-0640DB91BAF5}" srcOrd="4" destOrd="0" presId="urn:microsoft.com/office/officeart/2009/layout/CircleArrowProcess"/>
    <dgm:cxn modelId="{70450EB8-EE4B-4CD7-B6EF-16E227DA25AD}" type="presParOf" srcId="{FD6A9020-58CE-4276-8DFE-0640DB91BAF5}" destId="{04D7B820-44EE-4453-92B0-9BFD05EB838C}" srcOrd="0" destOrd="0" presId="urn:microsoft.com/office/officeart/2009/layout/CircleArrowProcess"/>
    <dgm:cxn modelId="{038B61F9-AC61-41DF-9D10-57FBE2688936}" type="presParOf" srcId="{384F5E6E-4432-440E-8EBB-B505364D1A71}" destId="{532709A6-2AA5-427D-9370-FE6C40F500AF}" srcOrd="5" destOrd="0" presId="urn:microsoft.com/office/officeart/2009/layout/CircleArrow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24AD06A-233D-4B6F-94E7-6FB0630D9F23}"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pt-BR"/>
        </a:p>
      </dgm:t>
    </dgm:pt>
    <dgm:pt modelId="{2291E5FE-F6C6-4455-8714-48BE8F39E125}">
      <dgm:prSet phldrT="[Texto]"/>
      <dgm:spPr/>
      <dgm:t>
        <a:bodyPr/>
        <a:lstStyle/>
        <a:p>
          <a:r>
            <a:rPr lang="pt-BR" dirty="0"/>
            <a:t>Comitê Interministerial de Governança - CIG</a:t>
          </a:r>
        </a:p>
      </dgm:t>
    </dgm:pt>
    <dgm:pt modelId="{4FF4BB45-97DD-4812-8F10-5084AD49C0B2}" type="parTrans" cxnId="{14DDE47E-6FE2-4EC3-A11C-F71B3C56D722}">
      <dgm:prSet/>
      <dgm:spPr/>
      <dgm:t>
        <a:bodyPr/>
        <a:lstStyle/>
        <a:p>
          <a:endParaRPr lang="pt-BR"/>
        </a:p>
      </dgm:t>
    </dgm:pt>
    <dgm:pt modelId="{EA791432-C3D1-458B-B365-60CE89DA748D}" type="sibTrans" cxnId="{14DDE47E-6FE2-4EC3-A11C-F71B3C56D722}">
      <dgm:prSet/>
      <dgm:spPr/>
      <dgm:t>
        <a:bodyPr/>
        <a:lstStyle/>
        <a:p>
          <a:endParaRPr lang="pt-BR"/>
        </a:p>
      </dgm:t>
    </dgm:pt>
    <dgm:pt modelId="{D36695ED-4687-4904-99BF-559399C8C3DE}">
      <dgm:prSet phldrT="[Texto]"/>
      <dgm:spPr/>
      <dgm:t>
        <a:bodyPr/>
        <a:lstStyle/>
        <a:p>
          <a:r>
            <a:rPr lang="pt-BR" dirty="0"/>
            <a:t>Órgão colegiado para assessoramento da PR</a:t>
          </a:r>
        </a:p>
      </dgm:t>
    </dgm:pt>
    <dgm:pt modelId="{2EA17D0B-8F9F-4F6E-84BB-AAEA25E162FD}" type="parTrans" cxnId="{FDEEB82A-D8AC-49BD-8C87-68461A4E0C38}">
      <dgm:prSet/>
      <dgm:spPr/>
      <dgm:t>
        <a:bodyPr/>
        <a:lstStyle/>
        <a:p>
          <a:endParaRPr lang="pt-BR"/>
        </a:p>
      </dgm:t>
    </dgm:pt>
    <dgm:pt modelId="{CAB2CF82-8802-4F6D-B716-6B752E766F54}" type="sibTrans" cxnId="{FDEEB82A-D8AC-49BD-8C87-68461A4E0C38}">
      <dgm:prSet/>
      <dgm:spPr/>
      <dgm:t>
        <a:bodyPr/>
        <a:lstStyle/>
        <a:p>
          <a:endParaRPr lang="pt-BR"/>
        </a:p>
      </dgm:t>
    </dgm:pt>
    <dgm:pt modelId="{1967267A-2256-4027-B4D5-61C8884EC7AD}">
      <dgm:prSet phldrT="[Texto]"/>
      <dgm:spPr/>
      <dgm:t>
        <a:bodyPr/>
        <a:lstStyle/>
        <a:p>
          <a:r>
            <a:rPr lang="pt-BR" dirty="0"/>
            <a:t>Comitê interno de governança </a:t>
          </a:r>
        </a:p>
      </dgm:t>
    </dgm:pt>
    <dgm:pt modelId="{7672635E-3A4B-4CA3-8DB9-B38AA093FB00}" type="parTrans" cxnId="{AE2AFE63-91D1-4F3B-98AC-3824E8A02D53}">
      <dgm:prSet/>
      <dgm:spPr/>
      <dgm:t>
        <a:bodyPr/>
        <a:lstStyle/>
        <a:p>
          <a:endParaRPr lang="pt-BR"/>
        </a:p>
      </dgm:t>
    </dgm:pt>
    <dgm:pt modelId="{9D6424AA-8A72-4D5A-9C85-8948B797097C}" type="sibTrans" cxnId="{AE2AFE63-91D1-4F3B-98AC-3824E8A02D53}">
      <dgm:prSet/>
      <dgm:spPr/>
      <dgm:t>
        <a:bodyPr/>
        <a:lstStyle/>
        <a:p>
          <a:endParaRPr lang="pt-BR"/>
        </a:p>
      </dgm:t>
    </dgm:pt>
    <dgm:pt modelId="{428538ED-1DB6-47E2-825C-B687312BA3B9}">
      <dgm:prSet phldrT="[Texto]"/>
      <dgm:spPr/>
      <dgm:t>
        <a:bodyPr/>
        <a:lstStyle/>
        <a:p>
          <a:r>
            <a:rPr lang="pt-BR" b="0" i="0" dirty="0"/>
            <a:t>I - auxiliar a alta administração;</a:t>
          </a:r>
          <a:endParaRPr lang="pt-BR" dirty="0"/>
        </a:p>
      </dgm:t>
    </dgm:pt>
    <dgm:pt modelId="{3A2F2520-FDDB-409F-BC61-B9DE7DD5E6CF}" type="parTrans" cxnId="{CDA69699-648B-4CA6-AB3C-3F0008EB3064}">
      <dgm:prSet/>
      <dgm:spPr/>
      <dgm:t>
        <a:bodyPr/>
        <a:lstStyle/>
        <a:p>
          <a:endParaRPr lang="pt-BR"/>
        </a:p>
      </dgm:t>
    </dgm:pt>
    <dgm:pt modelId="{ED1E31B6-50B8-44B0-BEE2-9E44B2DC4B87}" type="sibTrans" cxnId="{CDA69699-648B-4CA6-AB3C-3F0008EB3064}">
      <dgm:prSet/>
      <dgm:spPr/>
      <dgm:t>
        <a:bodyPr/>
        <a:lstStyle/>
        <a:p>
          <a:endParaRPr lang="pt-BR"/>
        </a:p>
      </dgm:t>
    </dgm:pt>
    <dgm:pt modelId="{7384601C-0F66-46A7-A61A-7EBEF28030F3}">
      <dgm:prSet phldrT="[Texto]"/>
      <dgm:spPr/>
      <dgm:t>
        <a:bodyPr/>
        <a:lstStyle/>
        <a:p>
          <a:r>
            <a:rPr lang="pt-BR" dirty="0"/>
            <a:t>Titulares:</a:t>
          </a:r>
        </a:p>
      </dgm:t>
    </dgm:pt>
    <dgm:pt modelId="{FCFC125F-0ACD-4AD1-9AA2-EF22C567EF00}" type="parTrans" cxnId="{108782FE-C23F-4977-B344-C7A7421020F6}">
      <dgm:prSet/>
      <dgm:spPr/>
      <dgm:t>
        <a:bodyPr/>
        <a:lstStyle/>
        <a:p>
          <a:endParaRPr lang="pt-BR"/>
        </a:p>
      </dgm:t>
    </dgm:pt>
    <dgm:pt modelId="{CA95B1EB-9DF7-4F0E-928F-7C06D5E4B660}" type="sibTrans" cxnId="{108782FE-C23F-4977-B344-C7A7421020F6}">
      <dgm:prSet/>
      <dgm:spPr/>
      <dgm:t>
        <a:bodyPr/>
        <a:lstStyle/>
        <a:p>
          <a:endParaRPr lang="pt-BR"/>
        </a:p>
      </dgm:t>
    </dgm:pt>
    <dgm:pt modelId="{F60976A0-8D7F-4500-999B-C3D68AB9430F}">
      <dgm:prSet phldrT="[Texto]"/>
      <dgm:spPr/>
      <dgm:t>
        <a:bodyPr/>
        <a:lstStyle/>
        <a:p>
          <a:pPr>
            <a:buFont typeface="Courier New" panose="02070309020205020404" pitchFamily="49" charset="0"/>
            <a:buChar char="o"/>
          </a:pPr>
          <a:r>
            <a:rPr lang="pt-BR" dirty="0"/>
            <a:t>Casa civil – coordenador </a:t>
          </a:r>
        </a:p>
      </dgm:t>
    </dgm:pt>
    <dgm:pt modelId="{78193E8F-FED4-4697-A3B0-797451F9641A}" type="parTrans" cxnId="{83C39097-97EA-4FA6-959A-72A7A775DC5F}">
      <dgm:prSet/>
      <dgm:spPr/>
      <dgm:t>
        <a:bodyPr/>
        <a:lstStyle/>
        <a:p>
          <a:endParaRPr lang="pt-BR"/>
        </a:p>
      </dgm:t>
    </dgm:pt>
    <dgm:pt modelId="{696B25C7-9EF9-40A2-AB72-957357510D38}" type="sibTrans" cxnId="{83C39097-97EA-4FA6-959A-72A7A775DC5F}">
      <dgm:prSet/>
      <dgm:spPr/>
      <dgm:t>
        <a:bodyPr/>
        <a:lstStyle/>
        <a:p>
          <a:endParaRPr lang="pt-BR"/>
        </a:p>
      </dgm:t>
    </dgm:pt>
    <dgm:pt modelId="{156E7A32-7847-43EE-8464-FEF7EDB23A93}">
      <dgm:prSet phldrT="[Texto]"/>
      <dgm:spPr/>
      <dgm:t>
        <a:bodyPr/>
        <a:lstStyle/>
        <a:p>
          <a:pPr>
            <a:buFont typeface="Courier New" panose="02070309020205020404" pitchFamily="49" charset="0"/>
            <a:buChar char="o"/>
          </a:pPr>
          <a:r>
            <a:rPr lang="pt-BR" dirty="0"/>
            <a:t>Economia</a:t>
          </a:r>
        </a:p>
      </dgm:t>
    </dgm:pt>
    <dgm:pt modelId="{49D39577-1F1E-4CDA-B2CD-41C4D44CCB35}" type="parTrans" cxnId="{99547F08-D3DB-4B1F-9264-F778F198EDE0}">
      <dgm:prSet/>
      <dgm:spPr/>
      <dgm:t>
        <a:bodyPr/>
        <a:lstStyle/>
        <a:p>
          <a:endParaRPr lang="pt-BR"/>
        </a:p>
      </dgm:t>
    </dgm:pt>
    <dgm:pt modelId="{B6DDDC5D-988B-459E-A0DD-19CFC245B691}" type="sibTrans" cxnId="{99547F08-D3DB-4B1F-9264-F778F198EDE0}">
      <dgm:prSet/>
      <dgm:spPr/>
      <dgm:t>
        <a:bodyPr/>
        <a:lstStyle/>
        <a:p>
          <a:endParaRPr lang="pt-BR"/>
        </a:p>
      </dgm:t>
    </dgm:pt>
    <dgm:pt modelId="{FD3261FD-5E28-4553-AE2C-C12A4746A837}">
      <dgm:prSet phldrT="[Texto]"/>
      <dgm:spPr/>
      <dgm:t>
        <a:bodyPr/>
        <a:lstStyle/>
        <a:p>
          <a:pPr>
            <a:buFont typeface="Arial" panose="020B0604020202020204" pitchFamily="34" charset="0"/>
            <a:buChar char="•"/>
          </a:pPr>
          <a:r>
            <a:rPr lang="pt-BR" dirty="0"/>
            <a:t>Recomendações e resoluções</a:t>
          </a:r>
        </a:p>
      </dgm:t>
    </dgm:pt>
    <dgm:pt modelId="{A8352B1D-F57A-4970-BFA7-AE4DA2AF0150}" type="parTrans" cxnId="{4D0F194A-A990-4D7F-B741-F06467799DAF}">
      <dgm:prSet/>
      <dgm:spPr/>
      <dgm:t>
        <a:bodyPr/>
        <a:lstStyle/>
        <a:p>
          <a:endParaRPr lang="pt-BR"/>
        </a:p>
      </dgm:t>
    </dgm:pt>
    <dgm:pt modelId="{641CFE81-1B2F-43F0-9DA5-61FDABA3EF84}" type="sibTrans" cxnId="{4D0F194A-A990-4D7F-B741-F06467799DAF}">
      <dgm:prSet/>
      <dgm:spPr/>
      <dgm:t>
        <a:bodyPr/>
        <a:lstStyle/>
        <a:p>
          <a:endParaRPr lang="pt-BR"/>
        </a:p>
      </dgm:t>
    </dgm:pt>
    <dgm:pt modelId="{92AC81C0-46FF-4EFC-AD4D-12A9979AB3F2}">
      <dgm:prSet/>
      <dgm:spPr/>
      <dgm:t>
        <a:bodyPr/>
        <a:lstStyle/>
        <a:p>
          <a:r>
            <a:rPr lang="pt-BR" b="0" i="0" dirty="0"/>
            <a:t>II - incentivar e promover iniciativas</a:t>
          </a:r>
        </a:p>
      </dgm:t>
    </dgm:pt>
    <dgm:pt modelId="{18F9825F-C46F-4D81-B528-2B17E7E77039}" type="parTrans" cxnId="{162CC12E-CCFD-4D89-900C-D6C0501C559D}">
      <dgm:prSet/>
      <dgm:spPr/>
      <dgm:t>
        <a:bodyPr/>
        <a:lstStyle/>
        <a:p>
          <a:endParaRPr lang="pt-BR"/>
        </a:p>
      </dgm:t>
    </dgm:pt>
    <dgm:pt modelId="{F064B903-A231-4BF1-A890-2CF056D62D1E}" type="sibTrans" cxnId="{162CC12E-CCFD-4D89-900C-D6C0501C559D}">
      <dgm:prSet/>
      <dgm:spPr/>
      <dgm:t>
        <a:bodyPr/>
        <a:lstStyle/>
        <a:p>
          <a:endParaRPr lang="pt-BR"/>
        </a:p>
      </dgm:t>
    </dgm:pt>
    <dgm:pt modelId="{0F4F289E-6F99-4286-B83F-4D7F215B8FC9}">
      <dgm:prSet/>
      <dgm:spPr/>
      <dgm:t>
        <a:bodyPr/>
        <a:lstStyle/>
        <a:p>
          <a:r>
            <a:rPr lang="pt-BR" b="0" i="0" dirty="0"/>
            <a:t>IV - elaborar manifestação técnica relativa aos temas de sua competência.</a:t>
          </a:r>
        </a:p>
      </dgm:t>
    </dgm:pt>
    <dgm:pt modelId="{8B96D111-B179-4191-A1A7-39FFD658D991}" type="parTrans" cxnId="{B4438C61-87E3-417C-BF90-BDA1A3BFD384}">
      <dgm:prSet/>
      <dgm:spPr/>
      <dgm:t>
        <a:bodyPr/>
        <a:lstStyle/>
        <a:p>
          <a:endParaRPr lang="pt-BR"/>
        </a:p>
      </dgm:t>
    </dgm:pt>
    <dgm:pt modelId="{BDA71F55-FF20-4E7F-B117-22804586C54E}" type="sibTrans" cxnId="{B4438C61-87E3-417C-BF90-BDA1A3BFD384}">
      <dgm:prSet/>
      <dgm:spPr/>
      <dgm:t>
        <a:bodyPr/>
        <a:lstStyle/>
        <a:p>
          <a:endParaRPr lang="pt-BR"/>
        </a:p>
      </dgm:t>
    </dgm:pt>
    <dgm:pt modelId="{C82395FE-CF31-485A-8682-844AF4FF4775}">
      <dgm:prSet/>
      <dgm:spPr/>
      <dgm:t>
        <a:bodyPr/>
        <a:lstStyle/>
        <a:p>
          <a:r>
            <a:rPr lang="pt-BR" b="0" i="0" dirty="0"/>
            <a:t>III - promover e acompanhar a implementação das medidas, dos mecanismos e das práticas organizacionais de governança definidos pelo CIG em seus manuais e em suas resoluções; e</a:t>
          </a:r>
        </a:p>
      </dgm:t>
    </dgm:pt>
    <dgm:pt modelId="{2716B3F4-3394-4A9B-A7BD-7258B0934BE9}" type="parTrans" cxnId="{A24DE30D-6DDC-4B5B-ABC9-7E2C5FD68E2F}">
      <dgm:prSet/>
      <dgm:spPr/>
      <dgm:t>
        <a:bodyPr/>
        <a:lstStyle/>
        <a:p>
          <a:endParaRPr lang="pt-BR"/>
        </a:p>
      </dgm:t>
    </dgm:pt>
    <dgm:pt modelId="{F9192327-1600-47CC-A4CE-7A163BDC0570}" type="sibTrans" cxnId="{A24DE30D-6DDC-4B5B-ABC9-7E2C5FD68E2F}">
      <dgm:prSet/>
      <dgm:spPr/>
      <dgm:t>
        <a:bodyPr/>
        <a:lstStyle/>
        <a:p>
          <a:endParaRPr lang="pt-BR"/>
        </a:p>
      </dgm:t>
    </dgm:pt>
    <dgm:pt modelId="{1224C835-45E4-470B-88E2-676BDA3437CA}">
      <dgm:prSet phldrT="[Texto]"/>
      <dgm:spPr/>
      <dgm:t>
        <a:bodyPr/>
        <a:lstStyle/>
        <a:p>
          <a:pPr>
            <a:buFont typeface="Courier New" panose="02070309020205020404" pitchFamily="49" charset="0"/>
            <a:buChar char="o"/>
          </a:pPr>
          <a:r>
            <a:rPr lang="pt-BR" dirty="0"/>
            <a:t>CGU</a:t>
          </a:r>
        </a:p>
      </dgm:t>
    </dgm:pt>
    <dgm:pt modelId="{90A0D1A0-0351-44B9-9777-F9F1E891AAA0}" type="parTrans" cxnId="{EE3C8939-3A73-4FCB-9DC9-2C9C4A4CF176}">
      <dgm:prSet/>
      <dgm:spPr/>
      <dgm:t>
        <a:bodyPr/>
        <a:lstStyle/>
        <a:p>
          <a:endParaRPr lang="pt-BR"/>
        </a:p>
      </dgm:t>
    </dgm:pt>
    <dgm:pt modelId="{385FC1AA-0329-46F0-BF99-29DFC49872A9}" type="sibTrans" cxnId="{EE3C8939-3A73-4FCB-9DC9-2C9C4A4CF176}">
      <dgm:prSet/>
      <dgm:spPr/>
      <dgm:t>
        <a:bodyPr/>
        <a:lstStyle/>
        <a:p>
          <a:endParaRPr lang="pt-BR"/>
        </a:p>
      </dgm:t>
    </dgm:pt>
    <dgm:pt modelId="{EAD0FF5D-7DAD-4965-AA32-58EF6187BFFF}" type="pres">
      <dgm:prSet presAssocID="{E24AD06A-233D-4B6F-94E7-6FB0630D9F23}" presName="linear" presStyleCnt="0">
        <dgm:presLayoutVars>
          <dgm:animLvl val="lvl"/>
          <dgm:resizeHandles val="exact"/>
        </dgm:presLayoutVars>
      </dgm:prSet>
      <dgm:spPr/>
    </dgm:pt>
    <dgm:pt modelId="{7428CE7B-19B2-49ED-870B-1A26508F3DC2}" type="pres">
      <dgm:prSet presAssocID="{2291E5FE-F6C6-4455-8714-48BE8F39E125}" presName="parentText" presStyleLbl="node1" presStyleIdx="0" presStyleCnt="2">
        <dgm:presLayoutVars>
          <dgm:chMax val="0"/>
          <dgm:bulletEnabled val="1"/>
        </dgm:presLayoutVars>
      </dgm:prSet>
      <dgm:spPr/>
    </dgm:pt>
    <dgm:pt modelId="{7C44D15D-41BF-40F4-9EBD-BA8DE44526EF}" type="pres">
      <dgm:prSet presAssocID="{2291E5FE-F6C6-4455-8714-48BE8F39E125}" presName="childText" presStyleLbl="revTx" presStyleIdx="0" presStyleCnt="2">
        <dgm:presLayoutVars>
          <dgm:bulletEnabled val="1"/>
        </dgm:presLayoutVars>
      </dgm:prSet>
      <dgm:spPr/>
    </dgm:pt>
    <dgm:pt modelId="{C0D59C97-BBA4-499C-BFF7-3E88810D4658}" type="pres">
      <dgm:prSet presAssocID="{1967267A-2256-4027-B4D5-61C8884EC7AD}" presName="parentText" presStyleLbl="node1" presStyleIdx="1" presStyleCnt="2">
        <dgm:presLayoutVars>
          <dgm:chMax val="0"/>
          <dgm:bulletEnabled val="1"/>
        </dgm:presLayoutVars>
      </dgm:prSet>
      <dgm:spPr/>
    </dgm:pt>
    <dgm:pt modelId="{0A47A2E8-DA26-46A9-8474-C21C2B95CD0C}" type="pres">
      <dgm:prSet presAssocID="{1967267A-2256-4027-B4D5-61C8884EC7AD}" presName="childText" presStyleLbl="revTx" presStyleIdx="1" presStyleCnt="2">
        <dgm:presLayoutVars>
          <dgm:bulletEnabled val="1"/>
        </dgm:presLayoutVars>
      </dgm:prSet>
      <dgm:spPr/>
    </dgm:pt>
  </dgm:ptLst>
  <dgm:cxnLst>
    <dgm:cxn modelId="{99547F08-D3DB-4B1F-9264-F778F198EDE0}" srcId="{7384601C-0F66-46A7-A61A-7EBEF28030F3}" destId="{156E7A32-7847-43EE-8464-FEF7EDB23A93}" srcOrd="1" destOrd="0" parTransId="{49D39577-1F1E-4CDA-B2CD-41C4D44CCB35}" sibTransId="{B6DDDC5D-988B-459E-A0DD-19CFC245B691}"/>
    <dgm:cxn modelId="{3B5A5D09-DDD1-498D-AC5B-AF59914F59D2}" type="presOf" srcId="{D36695ED-4687-4904-99BF-559399C8C3DE}" destId="{7C44D15D-41BF-40F4-9EBD-BA8DE44526EF}" srcOrd="0" destOrd="0" presId="urn:microsoft.com/office/officeart/2005/8/layout/vList2"/>
    <dgm:cxn modelId="{A24DE30D-6DDC-4B5B-ABC9-7E2C5FD68E2F}" srcId="{1967267A-2256-4027-B4D5-61C8884EC7AD}" destId="{C82395FE-CF31-485A-8682-844AF4FF4775}" srcOrd="2" destOrd="0" parTransId="{2716B3F4-3394-4A9B-A7BD-7258B0934BE9}" sibTransId="{F9192327-1600-47CC-A4CE-7A163BDC0570}"/>
    <dgm:cxn modelId="{C0C98914-8D88-4DF7-A3B0-120AE8C468C6}" type="presOf" srcId="{92AC81C0-46FF-4EFC-AD4D-12A9979AB3F2}" destId="{0A47A2E8-DA26-46A9-8474-C21C2B95CD0C}" srcOrd="0" destOrd="1" presId="urn:microsoft.com/office/officeart/2005/8/layout/vList2"/>
    <dgm:cxn modelId="{AF57EE1B-6A81-4847-93F6-FA9F48FAB14D}" type="presOf" srcId="{156E7A32-7847-43EE-8464-FEF7EDB23A93}" destId="{7C44D15D-41BF-40F4-9EBD-BA8DE44526EF}" srcOrd="0" destOrd="3" presId="urn:microsoft.com/office/officeart/2005/8/layout/vList2"/>
    <dgm:cxn modelId="{C8BA271C-409A-4CF4-8119-78B073420EE2}" type="presOf" srcId="{E24AD06A-233D-4B6F-94E7-6FB0630D9F23}" destId="{EAD0FF5D-7DAD-4965-AA32-58EF6187BFFF}" srcOrd="0" destOrd="0" presId="urn:microsoft.com/office/officeart/2005/8/layout/vList2"/>
    <dgm:cxn modelId="{FDEEB82A-D8AC-49BD-8C87-68461A4E0C38}" srcId="{2291E5FE-F6C6-4455-8714-48BE8F39E125}" destId="{D36695ED-4687-4904-99BF-559399C8C3DE}" srcOrd="0" destOrd="0" parTransId="{2EA17D0B-8F9F-4F6E-84BB-AAEA25E162FD}" sibTransId="{CAB2CF82-8802-4F6D-B716-6B752E766F54}"/>
    <dgm:cxn modelId="{162CC12E-CCFD-4D89-900C-D6C0501C559D}" srcId="{1967267A-2256-4027-B4D5-61C8884EC7AD}" destId="{92AC81C0-46FF-4EFC-AD4D-12A9979AB3F2}" srcOrd="1" destOrd="0" parTransId="{18F9825F-C46F-4D81-B528-2B17E7E77039}" sibTransId="{F064B903-A231-4BF1-A890-2CF056D62D1E}"/>
    <dgm:cxn modelId="{EE3C8939-3A73-4FCB-9DC9-2C9C4A4CF176}" srcId="{7384601C-0F66-46A7-A61A-7EBEF28030F3}" destId="{1224C835-45E4-470B-88E2-676BDA3437CA}" srcOrd="2" destOrd="0" parTransId="{90A0D1A0-0351-44B9-9777-F9F1E891AAA0}" sibTransId="{385FC1AA-0329-46F0-BF99-29DFC49872A9}"/>
    <dgm:cxn modelId="{92BAD05B-E069-440F-9EE9-B1BD9086B22D}" type="presOf" srcId="{1224C835-45E4-470B-88E2-676BDA3437CA}" destId="{7C44D15D-41BF-40F4-9EBD-BA8DE44526EF}" srcOrd="0" destOrd="4" presId="urn:microsoft.com/office/officeart/2005/8/layout/vList2"/>
    <dgm:cxn modelId="{B4438C61-87E3-417C-BF90-BDA1A3BFD384}" srcId="{1967267A-2256-4027-B4D5-61C8884EC7AD}" destId="{0F4F289E-6F99-4286-B83F-4D7F215B8FC9}" srcOrd="3" destOrd="0" parTransId="{8B96D111-B179-4191-A1A7-39FFD658D991}" sibTransId="{BDA71F55-FF20-4E7F-B117-22804586C54E}"/>
    <dgm:cxn modelId="{AE2AFE63-91D1-4F3B-98AC-3824E8A02D53}" srcId="{E24AD06A-233D-4B6F-94E7-6FB0630D9F23}" destId="{1967267A-2256-4027-B4D5-61C8884EC7AD}" srcOrd="1" destOrd="0" parTransId="{7672635E-3A4B-4CA3-8DB9-B38AA093FB00}" sibTransId="{9D6424AA-8A72-4D5A-9C85-8948B797097C}"/>
    <dgm:cxn modelId="{4D0F194A-A990-4D7F-B741-F06467799DAF}" srcId="{2291E5FE-F6C6-4455-8714-48BE8F39E125}" destId="{FD3261FD-5E28-4553-AE2C-C12A4746A837}" srcOrd="2" destOrd="0" parTransId="{A8352B1D-F57A-4970-BFA7-AE4DA2AF0150}" sibTransId="{641CFE81-1B2F-43F0-9DA5-61FDABA3EF84}"/>
    <dgm:cxn modelId="{61CF434D-B8BD-4A67-A92D-08928F1C8304}" type="presOf" srcId="{FD3261FD-5E28-4553-AE2C-C12A4746A837}" destId="{7C44D15D-41BF-40F4-9EBD-BA8DE44526EF}" srcOrd="0" destOrd="5" presId="urn:microsoft.com/office/officeart/2005/8/layout/vList2"/>
    <dgm:cxn modelId="{14DDE47E-6FE2-4EC3-A11C-F71B3C56D722}" srcId="{E24AD06A-233D-4B6F-94E7-6FB0630D9F23}" destId="{2291E5FE-F6C6-4455-8714-48BE8F39E125}" srcOrd="0" destOrd="0" parTransId="{4FF4BB45-97DD-4812-8F10-5084AD49C0B2}" sibTransId="{EA791432-C3D1-458B-B365-60CE89DA748D}"/>
    <dgm:cxn modelId="{E7691B83-3D26-4FE3-951C-0AD90253C85D}" type="presOf" srcId="{428538ED-1DB6-47E2-825C-B687312BA3B9}" destId="{0A47A2E8-DA26-46A9-8474-C21C2B95CD0C}" srcOrd="0" destOrd="0" presId="urn:microsoft.com/office/officeart/2005/8/layout/vList2"/>
    <dgm:cxn modelId="{83C39097-97EA-4FA6-959A-72A7A775DC5F}" srcId="{7384601C-0F66-46A7-A61A-7EBEF28030F3}" destId="{F60976A0-8D7F-4500-999B-C3D68AB9430F}" srcOrd="0" destOrd="0" parTransId="{78193E8F-FED4-4697-A3B0-797451F9641A}" sibTransId="{696B25C7-9EF9-40A2-AB72-957357510D38}"/>
    <dgm:cxn modelId="{CDA69699-648B-4CA6-AB3C-3F0008EB3064}" srcId="{1967267A-2256-4027-B4D5-61C8884EC7AD}" destId="{428538ED-1DB6-47E2-825C-B687312BA3B9}" srcOrd="0" destOrd="0" parTransId="{3A2F2520-FDDB-409F-BC61-B9DE7DD5E6CF}" sibTransId="{ED1E31B6-50B8-44B0-BEE2-9E44B2DC4B87}"/>
    <dgm:cxn modelId="{820BFEAD-2490-47A8-81CF-4E2CCC39DD84}" type="presOf" srcId="{F60976A0-8D7F-4500-999B-C3D68AB9430F}" destId="{7C44D15D-41BF-40F4-9EBD-BA8DE44526EF}" srcOrd="0" destOrd="2" presId="urn:microsoft.com/office/officeart/2005/8/layout/vList2"/>
    <dgm:cxn modelId="{CB696CAF-8F08-4CF1-9425-1CFA3806E696}" type="presOf" srcId="{1967267A-2256-4027-B4D5-61C8884EC7AD}" destId="{C0D59C97-BBA4-499C-BFF7-3E88810D4658}" srcOrd="0" destOrd="0" presId="urn:microsoft.com/office/officeart/2005/8/layout/vList2"/>
    <dgm:cxn modelId="{871A93B3-3B19-4761-A8DD-CFA0EB7103BA}" type="presOf" srcId="{0F4F289E-6F99-4286-B83F-4D7F215B8FC9}" destId="{0A47A2E8-DA26-46A9-8474-C21C2B95CD0C}" srcOrd="0" destOrd="3" presId="urn:microsoft.com/office/officeart/2005/8/layout/vList2"/>
    <dgm:cxn modelId="{6FFFD2BC-6B1E-4A35-81FC-23BACE43F084}" type="presOf" srcId="{7384601C-0F66-46A7-A61A-7EBEF28030F3}" destId="{7C44D15D-41BF-40F4-9EBD-BA8DE44526EF}" srcOrd="0" destOrd="1" presId="urn:microsoft.com/office/officeart/2005/8/layout/vList2"/>
    <dgm:cxn modelId="{550BD9BC-CBBF-412C-BA05-071EE605B9CB}" type="presOf" srcId="{C82395FE-CF31-485A-8682-844AF4FF4775}" destId="{0A47A2E8-DA26-46A9-8474-C21C2B95CD0C}" srcOrd="0" destOrd="2" presId="urn:microsoft.com/office/officeart/2005/8/layout/vList2"/>
    <dgm:cxn modelId="{FB5AC7D1-963A-472A-998A-F66BFB1A8EF4}" type="presOf" srcId="{2291E5FE-F6C6-4455-8714-48BE8F39E125}" destId="{7428CE7B-19B2-49ED-870B-1A26508F3DC2}" srcOrd="0" destOrd="0" presId="urn:microsoft.com/office/officeart/2005/8/layout/vList2"/>
    <dgm:cxn modelId="{108782FE-C23F-4977-B344-C7A7421020F6}" srcId="{2291E5FE-F6C6-4455-8714-48BE8F39E125}" destId="{7384601C-0F66-46A7-A61A-7EBEF28030F3}" srcOrd="1" destOrd="0" parTransId="{FCFC125F-0ACD-4AD1-9AA2-EF22C567EF00}" sibTransId="{CA95B1EB-9DF7-4F0E-928F-7C06D5E4B660}"/>
    <dgm:cxn modelId="{1815E704-B653-419C-9372-C23AD2D34C67}" type="presParOf" srcId="{EAD0FF5D-7DAD-4965-AA32-58EF6187BFFF}" destId="{7428CE7B-19B2-49ED-870B-1A26508F3DC2}" srcOrd="0" destOrd="0" presId="urn:microsoft.com/office/officeart/2005/8/layout/vList2"/>
    <dgm:cxn modelId="{87D07D3A-CDA9-42C0-86A8-3D85ED2A5038}" type="presParOf" srcId="{EAD0FF5D-7DAD-4965-AA32-58EF6187BFFF}" destId="{7C44D15D-41BF-40F4-9EBD-BA8DE44526EF}" srcOrd="1" destOrd="0" presId="urn:microsoft.com/office/officeart/2005/8/layout/vList2"/>
    <dgm:cxn modelId="{0EABE05E-89DB-4AA0-ABDC-196E65256B0B}" type="presParOf" srcId="{EAD0FF5D-7DAD-4965-AA32-58EF6187BFFF}" destId="{C0D59C97-BBA4-499C-BFF7-3E88810D4658}" srcOrd="2" destOrd="0" presId="urn:microsoft.com/office/officeart/2005/8/layout/vList2"/>
    <dgm:cxn modelId="{49245F61-7CB1-4151-A0D5-5002BB24718E}" type="presParOf" srcId="{EAD0FF5D-7DAD-4965-AA32-58EF6187BFFF}" destId="{0A47A2E8-DA26-46A9-8474-C21C2B95CD0C}"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48FE6C-B38F-4E64-946B-F4CE80F1E7AC}">
      <dsp:nvSpPr>
        <dsp:cNvPr id="0" name=""/>
        <dsp:cNvSpPr/>
      </dsp:nvSpPr>
      <dsp:spPr>
        <a:xfrm>
          <a:off x="136053" y="0"/>
          <a:ext cx="4434213" cy="4434213"/>
        </a:xfrm>
        <a:prstGeom prst="triangle">
          <a:avLst/>
        </a:prstGeom>
        <a:solidFill>
          <a:srgbClr val="00666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5168C8-13C8-4B22-8B65-11FA87039554}">
      <dsp:nvSpPr>
        <dsp:cNvPr id="0" name=""/>
        <dsp:cNvSpPr/>
      </dsp:nvSpPr>
      <dsp:spPr>
        <a:xfrm>
          <a:off x="2393232" y="483576"/>
          <a:ext cx="5627599" cy="524830"/>
        </a:xfrm>
        <a:prstGeom prst="roundRect">
          <a:avLst/>
        </a:prstGeom>
        <a:solidFill>
          <a:schemeClr val="bg1">
            <a:alpha val="9000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Conceitos</a:t>
          </a:r>
        </a:p>
      </dsp:txBody>
      <dsp:txXfrm>
        <a:off x="2418852" y="509196"/>
        <a:ext cx="5576359" cy="473590"/>
      </dsp:txXfrm>
    </dsp:sp>
    <dsp:sp modelId="{E825E2C1-8C8E-4320-B331-6B2BFBF4FB46}">
      <dsp:nvSpPr>
        <dsp:cNvPr id="0" name=""/>
        <dsp:cNvSpPr/>
      </dsp:nvSpPr>
      <dsp:spPr>
        <a:xfrm>
          <a:off x="2393232" y="1074010"/>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Controles Internos da Gestão</a:t>
          </a:r>
        </a:p>
      </dsp:txBody>
      <dsp:txXfrm>
        <a:off x="2418852" y="1099630"/>
        <a:ext cx="5576359" cy="473590"/>
      </dsp:txXfrm>
    </dsp:sp>
    <dsp:sp modelId="{F43AFD1D-C944-4457-82C3-DEC2001E31C1}">
      <dsp:nvSpPr>
        <dsp:cNvPr id="0" name=""/>
        <dsp:cNvSpPr/>
      </dsp:nvSpPr>
      <dsp:spPr>
        <a:xfrm>
          <a:off x="2393232" y="1664445"/>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Gestão de Riscos</a:t>
          </a:r>
        </a:p>
      </dsp:txBody>
      <dsp:txXfrm>
        <a:off x="2418852" y="1690065"/>
        <a:ext cx="5576359" cy="473590"/>
      </dsp:txXfrm>
    </dsp:sp>
    <dsp:sp modelId="{124BA426-6811-424F-AE59-F33629DA31F1}">
      <dsp:nvSpPr>
        <dsp:cNvPr id="0" name=""/>
        <dsp:cNvSpPr/>
      </dsp:nvSpPr>
      <dsp:spPr>
        <a:xfrm>
          <a:off x="2393232" y="2254879"/>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Governança</a:t>
          </a:r>
        </a:p>
      </dsp:txBody>
      <dsp:txXfrm>
        <a:off x="2418852" y="2280499"/>
        <a:ext cx="5576359" cy="473590"/>
      </dsp:txXfrm>
    </dsp:sp>
    <dsp:sp modelId="{4A3B4FFC-80BF-4D3E-9F41-7932490ACCD0}">
      <dsp:nvSpPr>
        <dsp:cNvPr id="0" name=""/>
        <dsp:cNvSpPr/>
      </dsp:nvSpPr>
      <dsp:spPr>
        <a:xfrm>
          <a:off x="2393232" y="2845314"/>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Comitê de Governança, Riscos e Controles</a:t>
          </a:r>
        </a:p>
      </dsp:txBody>
      <dsp:txXfrm>
        <a:off x="2418852" y="2870934"/>
        <a:ext cx="5576359" cy="473590"/>
      </dsp:txXfrm>
    </dsp:sp>
    <dsp:sp modelId="{DACA87EC-E128-4CC5-9462-08B3BAD23A77}">
      <dsp:nvSpPr>
        <dsp:cNvPr id="0" name=""/>
        <dsp:cNvSpPr/>
      </dsp:nvSpPr>
      <dsp:spPr>
        <a:xfrm>
          <a:off x="2393232" y="3443353"/>
          <a:ext cx="5627599" cy="524830"/>
        </a:xfrm>
        <a:prstGeom prst="roundRect">
          <a:avLst/>
        </a:prstGeom>
        <a:solidFill>
          <a:schemeClr val="lt1">
            <a:alpha val="90000"/>
            <a:hueOff val="0"/>
            <a:satOff val="0"/>
            <a:lumOff val="0"/>
            <a:alphaOff val="0"/>
          </a:schemeClr>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pt-BR" sz="2000" b="1" kern="1200" dirty="0">
              <a:solidFill>
                <a:srgbClr val="035363"/>
              </a:solidFill>
            </a:rPr>
            <a:t>Disposições Finais</a:t>
          </a:r>
        </a:p>
      </dsp:txBody>
      <dsp:txXfrm>
        <a:off x="2418852" y="3468973"/>
        <a:ext cx="5576359" cy="47359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E4E917-4658-48A2-ADDC-9E29FEDCE1A7}">
      <dsp:nvSpPr>
        <dsp:cNvPr id="0" name=""/>
        <dsp:cNvSpPr/>
      </dsp:nvSpPr>
      <dsp:spPr>
        <a:xfrm>
          <a:off x="49" y="2269"/>
          <a:ext cx="4759160" cy="1287895"/>
        </a:xfrm>
        <a:prstGeom prst="rect">
          <a:avLst/>
        </a:prstGeom>
        <a:solidFill>
          <a:schemeClr val="accent6">
            <a:lumMod val="75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142240" rIns="248920" bIns="142240" numCol="1" spcCol="1270" anchor="ctr" anchorCtr="0">
          <a:noAutofit/>
        </a:bodyPr>
        <a:lstStyle/>
        <a:p>
          <a:pPr marL="0" lvl="0" indent="0" algn="ctr" defTabSz="1555750">
            <a:lnSpc>
              <a:spcPct val="90000"/>
            </a:lnSpc>
            <a:spcBef>
              <a:spcPct val="0"/>
            </a:spcBef>
            <a:spcAft>
              <a:spcPct val="35000"/>
            </a:spcAft>
            <a:buNone/>
          </a:pPr>
          <a:r>
            <a:rPr lang="pt-BR" sz="3500" kern="1200" dirty="0"/>
            <a:t>Prestação de contas e responsabilidade</a:t>
          </a:r>
        </a:p>
      </dsp:txBody>
      <dsp:txXfrm>
        <a:off x="49" y="2269"/>
        <a:ext cx="4759160" cy="1287895"/>
      </dsp:txXfrm>
    </dsp:sp>
    <dsp:sp modelId="{991A6862-A9F3-4496-A1D1-97ECAD3DA598}">
      <dsp:nvSpPr>
        <dsp:cNvPr id="0" name=""/>
        <dsp:cNvSpPr/>
      </dsp:nvSpPr>
      <dsp:spPr>
        <a:xfrm>
          <a:off x="49" y="1290164"/>
          <a:ext cx="4759160" cy="3266550"/>
        </a:xfrm>
        <a:prstGeom prst="rect">
          <a:avLst/>
        </a:prstGeom>
        <a:solidFill>
          <a:schemeClr val="accent6">
            <a:lumMod val="20000"/>
            <a:lumOff val="80000"/>
            <a:alpha val="9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pt-BR" sz="3200" i="1" kern="1200" dirty="0" err="1"/>
            <a:t>Accontability</a:t>
          </a:r>
          <a:endParaRPr lang="pt-BR" sz="3200" i="1" kern="1200" dirty="0"/>
        </a:p>
        <a:p>
          <a:pPr marL="285750" lvl="1" indent="-285750" algn="l" defTabSz="1422400">
            <a:lnSpc>
              <a:spcPct val="90000"/>
            </a:lnSpc>
            <a:spcBef>
              <a:spcPct val="0"/>
            </a:spcBef>
            <a:spcAft>
              <a:spcPct val="15000"/>
            </a:spcAft>
            <a:buChar char="•"/>
          </a:pPr>
          <a:r>
            <a:rPr lang="pt-BR" sz="3200" kern="1200" dirty="0"/>
            <a:t>Definir </a:t>
          </a:r>
          <a:r>
            <a:rPr lang="pt-BR" sz="3200" b="1" kern="1200" dirty="0"/>
            <a:t>formalmente</a:t>
          </a:r>
          <a:r>
            <a:rPr lang="pt-BR" sz="3200" kern="1200" dirty="0"/>
            <a:t> as funções, competências e responsabilidades das estruturas e arranjos institucionais</a:t>
          </a:r>
        </a:p>
      </dsp:txBody>
      <dsp:txXfrm>
        <a:off x="49" y="1290164"/>
        <a:ext cx="4759160" cy="3266550"/>
      </dsp:txXfrm>
    </dsp:sp>
    <dsp:sp modelId="{2329F65E-A336-4E86-B0EF-F42EAFBAB876}">
      <dsp:nvSpPr>
        <dsp:cNvPr id="0" name=""/>
        <dsp:cNvSpPr/>
      </dsp:nvSpPr>
      <dsp:spPr>
        <a:xfrm>
          <a:off x="5425493" y="2269"/>
          <a:ext cx="4759160" cy="1287895"/>
        </a:xfrm>
        <a:prstGeom prst="rect">
          <a:avLst/>
        </a:prstGeom>
        <a:solidFill>
          <a:schemeClr val="accent1">
            <a:lumMod val="75000"/>
          </a:schemeClr>
        </a:solidFill>
        <a:ln w="12700" cap="flat" cmpd="sng" algn="ctr">
          <a:solidFill>
            <a:schemeClr val="accent4">
              <a:hueOff val="9800891"/>
              <a:satOff val="-40777"/>
              <a:lumOff val="960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142240" rIns="248920" bIns="142240" numCol="1" spcCol="1270" anchor="ctr" anchorCtr="0">
          <a:noAutofit/>
        </a:bodyPr>
        <a:lstStyle/>
        <a:p>
          <a:pPr marL="0" lvl="0" indent="0" algn="ctr" defTabSz="1555750">
            <a:lnSpc>
              <a:spcPct val="90000"/>
            </a:lnSpc>
            <a:spcBef>
              <a:spcPct val="0"/>
            </a:spcBef>
            <a:spcAft>
              <a:spcPct val="35000"/>
            </a:spcAft>
            <a:buNone/>
          </a:pPr>
          <a:r>
            <a:rPr lang="pt-BR" sz="3500" kern="1200" dirty="0"/>
            <a:t>Transparência</a:t>
          </a:r>
        </a:p>
      </dsp:txBody>
      <dsp:txXfrm>
        <a:off x="5425493" y="2269"/>
        <a:ext cx="4759160" cy="1287895"/>
      </dsp:txXfrm>
    </dsp:sp>
    <dsp:sp modelId="{881BA0C8-3929-44E7-87A9-F10922592911}">
      <dsp:nvSpPr>
        <dsp:cNvPr id="0" name=""/>
        <dsp:cNvSpPr/>
      </dsp:nvSpPr>
      <dsp:spPr>
        <a:xfrm>
          <a:off x="5425493" y="1290164"/>
          <a:ext cx="4759160" cy="3266550"/>
        </a:xfrm>
        <a:prstGeom prst="rect">
          <a:avLst/>
        </a:prstGeom>
        <a:solidFill>
          <a:schemeClr val="accent1">
            <a:lumMod val="20000"/>
            <a:lumOff val="80000"/>
            <a:alpha val="90000"/>
          </a:schemeClr>
        </a:solidFill>
        <a:ln w="12700" cap="flat" cmpd="sng" algn="ctr">
          <a:solidFill>
            <a:schemeClr val="accent4">
              <a:tint val="40000"/>
              <a:alpha val="90000"/>
              <a:hueOff val="10861925"/>
              <a:satOff val="-51245"/>
              <a:lumOff val="-1851"/>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pt-BR" sz="3200" kern="1200" dirty="0"/>
            <a:t>Transparência ativa</a:t>
          </a:r>
        </a:p>
        <a:p>
          <a:pPr marL="285750" lvl="1" indent="-285750" algn="l" defTabSz="1422400">
            <a:lnSpc>
              <a:spcPct val="90000"/>
            </a:lnSpc>
            <a:spcBef>
              <a:spcPct val="0"/>
            </a:spcBef>
            <a:spcAft>
              <a:spcPct val="15000"/>
            </a:spcAft>
            <a:buChar char="•"/>
          </a:pPr>
          <a:r>
            <a:rPr lang="pt-BR" sz="3200" kern="1200" dirty="0"/>
            <a:t>Acesso público à informações </a:t>
          </a:r>
        </a:p>
        <a:p>
          <a:pPr marL="285750" lvl="1" indent="-285750" algn="l" defTabSz="1422400">
            <a:lnSpc>
              <a:spcPct val="90000"/>
            </a:lnSpc>
            <a:spcBef>
              <a:spcPct val="0"/>
            </a:spcBef>
            <a:spcAft>
              <a:spcPct val="15000"/>
            </a:spcAft>
            <a:buChar char="•"/>
          </a:pPr>
          <a:r>
            <a:rPr lang="pt-BR" sz="3200" kern="1200" dirty="0"/>
            <a:t>Informação completa, objetiva, confiável relevante e acessível</a:t>
          </a:r>
        </a:p>
      </dsp:txBody>
      <dsp:txXfrm>
        <a:off x="5425493" y="1290164"/>
        <a:ext cx="4759160" cy="326655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C1E3C0-FEA4-4E73-A59E-EF1515DFFBC7}">
      <dsp:nvSpPr>
        <dsp:cNvPr id="0" name=""/>
        <dsp:cNvSpPr/>
      </dsp:nvSpPr>
      <dsp:spPr>
        <a:xfrm>
          <a:off x="1369687" y="769300"/>
          <a:ext cx="2366548" cy="1866672"/>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Ações planejadas são executadas para atingir seus objetivos e resultados de forma transparente?</a:t>
          </a:r>
          <a:endParaRPr lang="pt-BR" sz="1800" kern="1200" dirty="0"/>
        </a:p>
      </dsp:txBody>
      <dsp:txXfrm>
        <a:off x="1748335" y="769300"/>
        <a:ext cx="1987900" cy="1866672"/>
      </dsp:txXfrm>
    </dsp:sp>
    <dsp:sp modelId="{99B2B366-BC02-4125-81C8-EE646BD5D052}">
      <dsp:nvSpPr>
        <dsp:cNvPr id="0" name=""/>
        <dsp:cNvSpPr/>
      </dsp:nvSpPr>
      <dsp:spPr>
        <a:xfrm>
          <a:off x="1380313" y="2646500"/>
          <a:ext cx="2366548" cy="1578487"/>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 Busca maior efetividade e maior economicidade das políticas</a:t>
          </a:r>
          <a:r>
            <a:rPr lang="pt-BR" sz="1800" kern="1200" dirty="0">
              <a:latin typeface="Calibri" panose="020F0502020204030204" pitchFamily="34" charset="0"/>
              <a:ea typeface="Calibri" panose="020F0502020204030204" pitchFamily="34" charset="0"/>
              <a:cs typeface="Calibri" panose="020F0502020204030204" pitchFamily="34" charset="0"/>
            </a:rPr>
            <a:t>. </a:t>
          </a:r>
          <a:endParaRPr lang="pt-BR" sz="1800" kern="1200" dirty="0"/>
        </a:p>
      </dsp:txBody>
      <dsp:txXfrm>
        <a:off x="1758961" y="2646500"/>
        <a:ext cx="1987900" cy="1578487"/>
      </dsp:txXfrm>
    </dsp:sp>
    <dsp:sp modelId="{F356B3FF-3E60-499B-B19F-957C2254A267}">
      <dsp:nvSpPr>
        <dsp:cNvPr id="0" name=""/>
        <dsp:cNvSpPr/>
      </dsp:nvSpPr>
      <dsp:spPr>
        <a:xfrm>
          <a:off x="1199" y="138220"/>
          <a:ext cx="1659991" cy="1642431"/>
        </a:xfrm>
        <a:prstGeom prst="ellipse">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Governança</a:t>
          </a:r>
          <a:endParaRPr lang="pt-BR" sz="1800" kern="1200" dirty="0">
            <a:solidFill>
              <a:schemeClr val="bg1"/>
            </a:solidFill>
          </a:endParaRPr>
        </a:p>
      </dsp:txBody>
      <dsp:txXfrm>
        <a:off x="244299" y="378748"/>
        <a:ext cx="1173791" cy="1161375"/>
      </dsp:txXfrm>
    </dsp:sp>
    <dsp:sp modelId="{7B97F9EB-91EA-48E1-8D0B-A2855712F07E}">
      <dsp:nvSpPr>
        <dsp:cNvPr id="0" name=""/>
        <dsp:cNvSpPr/>
      </dsp:nvSpPr>
      <dsp:spPr>
        <a:xfrm>
          <a:off x="5289898" y="769300"/>
          <a:ext cx="2366548" cy="1578487"/>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latin typeface="Calibri" panose="020F0502020204030204" pitchFamily="34" charset="0"/>
              <a:ea typeface="Calibri" panose="020F0502020204030204" pitchFamily="34" charset="0"/>
              <a:cs typeface="Calibri" panose="020F0502020204030204" pitchFamily="34" charset="0"/>
            </a:rPr>
            <a:t>Há </a:t>
          </a: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variáveis de resultados e de impactos definidas, mensuráveis e disponíveis?</a:t>
          </a:r>
          <a:endParaRPr lang="pt-BR" sz="1800" kern="1200" dirty="0"/>
        </a:p>
      </dsp:txBody>
      <dsp:txXfrm>
        <a:off x="5668546" y="769300"/>
        <a:ext cx="1987900" cy="1578487"/>
      </dsp:txXfrm>
    </dsp:sp>
    <dsp:sp modelId="{FC4E208E-1802-4F37-A525-46BFE251D49D}">
      <dsp:nvSpPr>
        <dsp:cNvPr id="0" name=""/>
        <dsp:cNvSpPr/>
      </dsp:nvSpPr>
      <dsp:spPr>
        <a:xfrm>
          <a:off x="5289898" y="2347787"/>
          <a:ext cx="2366548" cy="1578487"/>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Há evidências de que os resultados estão sendo alcançados ao longo do tempo?</a:t>
          </a:r>
          <a:endParaRPr lang="pt-BR" sz="1800" kern="1200" dirty="0"/>
        </a:p>
      </dsp:txBody>
      <dsp:txXfrm>
        <a:off x="5668546" y="2347787"/>
        <a:ext cx="1987900" cy="1578487"/>
      </dsp:txXfrm>
    </dsp:sp>
    <dsp:sp modelId="{2CB59D95-5F58-4BAB-8C4C-55F6F06E8AD4}">
      <dsp:nvSpPr>
        <dsp:cNvPr id="0" name=""/>
        <dsp:cNvSpPr/>
      </dsp:nvSpPr>
      <dsp:spPr>
        <a:xfrm>
          <a:off x="5289898" y="3926275"/>
          <a:ext cx="2366548" cy="1762144"/>
        </a:xfrm>
        <a:prstGeom prst="rect">
          <a:avLst/>
        </a:prstGeom>
        <a:solidFill>
          <a:schemeClr val="accent6">
            <a:tint val="40000"/>
            <a:alpha val="90000"/>
            <a:hueOff val="0"/>
            <a:satOff val="0"/>
            <a:lumOff val="0"/>
            <a:alphaOff val="0"/>
          </a:schemeClr>
        </a:solidFill>
        <a:ln w="12700" cap="flat" cmpd="sng" algn="ctr">
          <a:solidFill>
            <a:schemeClr val="accent6">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Estão alinhados aos planejamentos estabelecidos pela política e pelos instrumentos de planejamento macro e setoriais?</a:t>
          </a:r>
          <a:endParaRPr lang="pt-BR" sz="1800" kern="1200" dirty="0"/>
        </a:p>
      </dsp:txBody>
      <dsp:txXfrm>
        <a:off x="5668546" y="3926275"/>
        <a:ext cx="1987900" cy="1762144"/>
      </dsp:txXfrm>
    </dsp:sp>
    <dsp:sp modelId="{F363DC99-C794-49CD-A9E5-FAFD717A8333}">
      <dsp:nvSpPr>
        <dsp:cNvPr id="0" name=""/>
        <dsp:cNvSpPr/>
      </dsp:nvSpPr>
      <dsp:spPr>
        <a:xfrm>
          <a:off x="4027739" y="138220"/>
          <a:ext cx="1577698" cy="1577698"/>
        </a:xfrm>
        <a:prstGeom prst="ellipse">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rPr>
            <a:t>Avaliação de Resultados</a:t>
          </a:r>
          <a:endParaRPr lang="pt-BR" sz="1800" kern="1200" dirty="0">
            <a:solidFill>
              <a:schemeClr val="bg1"/>
            </a:solidFill>
          </a:endParaRPr>
        </a:p>
      </dsp:txBody>
      <dsp:txXfrm>
        <a:off x="4258788" y="369269"/>
        <a:ext cx="1115600" cy="1115600"/>
      </dsp:txXfrm>
    </dsp:sp>
    <dsp:sp modelId="{F5A818AD-4B07-45CD-BA72-29CD6E13214A}">
      <dsp:nvSpPr>
        <dsp:cNvPr id="0" name=""/>
        <dsp:cNvSpPr/>
      </dsp:nvSpPr>
      <dsp:spPr>
        <a:xfrm>
          <a:off x="9234146" y="769300"/>
          <a:ext cx="2366548" cy="1578487"/>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marL="0" lvl="0" indent="0" algn="l" defTabSz="800100">
            <a:lnSpc>
              <a:spcPct val="90000"/>
            </a:lnSpc>
            <a:spcBef>
              <a:spcPct val="0"/>
            </a:spcBef>
            <a:spcAft>
              <a:spcPct val="35000"/>
            </a:spcAft>
            <a:buNone/>
          </a:pPr>
          <a:r>
            <a:rPr lang="pt-BR" sz="1800" kern="1200" dirty="0">
              <a:solidFill>
                <a:srgbClr val="000000"/>
              </a:solidFill>
              <a:latin typeface="Calibri" panose="020F0502020204030204" pitchFamily="34" charset="0"/>
              <a:ea typeface="Calibri" panose="020F0502020204030204" pitchFamily="34" charset="0"/>
              <a:cs typeface="Calibri" panose="020F0502020204030204" pitchFamily="34" charset="0"/>
            </a:rPr>
            <a:t>Busca demarcar, na vida dos beneficiários, a diferença atribuída à política de forma inequívoca</a:t>
          </a:r>
          <a:r>
            <a:rPr lang="pt-BR" sz="1800" kern="1200" dirty="0">
              <a:latin typeface="Calibri" panose="020F0502020204030204" pitchFamily="34" charset="0"/>
              <a:ea typeface="Calibri" panose="020F0502020204030204" pitchFamily="34" charset="0"/>
              <a:cs typeface="Calibri" panose="020F0502020204030204" pitchFamily="34" charset="0"/>
            </a:rPr>
            <a:t>.</a:t>
          </a:r>
          <a:endParaRPr lang="pt-BR" sz="1800" kern="1200" dirty="0"/>
        </a:p>
      </dsp:txBody>
      <dsp:txXfrm>
        <a:off x="9612793" y="769300"/>
        <a:ext cx="1987900" cy="1578487"/>
      </dsp:txXfrm>
    </dsp:sp>
    <dsp:sp modelId="{2360F986-397E-4C7B-99BB-A931B25F6018}">
      <dsp:nvSpPr>
        <dsp:cNvPr id="0" name=""/>
        <dsp:cNvSpPr/>
      </dsp:nvSpPr>
      <dsp:spPr>
        <a:xfrm>
          <a:off x="7971986" y="138220"/>
          <a:ext cx="1577698" cy="1577698"/>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r>
            <a:rPr lang="pt-BR" sz="1800" b="1" kern="1200">
              <a:solidFill>
                <a:schemeClr val="bg1"/>
              </a:solidFill>
              <a:latin typeface="Calibri" panose="020F0502020204030204" pitchFamily="34" charset="0"/>
              <a:ea typeface="Calibri" panose="020F0502020204030204" pitchFamily="34" charset="0"/>
              <a:cs typeface="Calibri" panose="020F0502020204030204" pitchFamily="34" charset="0"/>
            </a:rPr>
            <a:t>Avaliação de Impacto</a:t>
          </a:r>
          <a:endParaRPr lang="pt-BR" sz="1800" b="1" kern="1200" dirty="0">
            <a:solidFill>
              <a:schemeClr val="bg1"/>
            </a:solidFill>
            <a:latin typeface="Calibri" panose="020F0502020204030204" pitchFamily="34" charset="0"/>
            <a:ea typeface="Calibri" panose="020F0502020204030204" pitchFamily="34" charset="0"/>
            <a:cs typeface="Calibri" panose="020F0502020204030204" pitchFamily="34" charset="0"/>
          </a:endParaRPr>
        </a:p>
      </dsp:txBody>
      <dsp:txXfrm>
        <a:off x="8203035" y="369269"/>
        <a:ext cx="1115600" cy="111560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503569-0F45-42E4-BE76-21FDA97135A9}">
      <dsp:nvSpPr>
        <dsp:cNvPr id="0" name=""/>
        <dsp:cNvSpPr/>
      </dsp:nvSpPr>
      <dsp:spPr>
        <a:xfrm>
          <a:off x="1723678" y="1977679"/>
          <a:ext cx="1993212" cy="1712733"/>
        </a:xfrm>
        <a:prstGeom prst="gear9">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pt-BR" sz="1600" b="1" kern="1200" cap="all" dirty="0">
              <a:solidFill>
                <a:schemeClr val="bg1"/>
              </a:solidFill>
              <a:latin typeface="Century Gothic" pitchFamily="34" charset="0"/>
              <a:ea typeface="+mn-ea"/>
              <a:cs typeface="Arial" panose="020B0604020202020204" pitchFamily="34" charset="0"/>
            </a:rPr>
            <a:t>Decisões baseadas em evidências</a:t>
          </a:r>
        </a:p>
      </dsp:txBody>
      <dsp:txXfrm>
        <a:off x="2103440" y="2378879"/>
        <a:ext cx="1233688" cy="880380"/>
      </dsp:txXfrm>
    </dsp:sp>
    <dsp:sp modelId="{9AE37E49-B9D7-4B1E-A93B-2CE0F5B78621}">
      <dsp:nvSpPr>
        <dsp:cNvPr id="0" name=""/>
        <dsp:cNvSpPr/>
      </dsp:nvSpPr>
      <dsp:spPr>
        <a:xfrm>
          <a:off x="385148" y="1431636"/>
          <a:ext cx="1717536" cy="1469260"/>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pt-BR" sz="1400" b="1" kern="1200" baseline="0" dirty="0"/>
            <a:t>Avaliação de Políticas Públicas</a:t>
          </a:r>
        </a:p>
      </dsp:txBody>
      <dsp:txXfrm>
        <a:off x="791128" y="1803762"/>
        <a:ext cx="905576" cy="725008"/>
      </dsp:txXfrm>
    </dsp:sp>
    <dsp:sp modelId="{B37A02CE-522C-4AF6-BC4D-8642ED980006}">
      <dsp:nvSpPr>
        <dsp:cNvPr id="0" name=""/>
        <dsp:cNvSpPr/>
      </dsp:nvSpPr>
      <dsp:spPr>
        <a:xfrm rot="20700000">
          <a:off x="1218418" y="192260"/>
          <a:ext cx="1892661" cy="1720615"/>
        </a:xfrm>
        <a:prstGeom prst="gear6">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pt-BR" sz="1400" b="1" kern="1200" dirty="0"/>
            <a:t>Análise de Impacto Regulatório</a:t>
          </a:r>
        </a:p>
      </dsp:txBody>
      <dsp:txXfrm rot="-20700000">
        <a:off x="1643738" y="559436"/>
        <a:ext cx="1042020" cy="986261"/>
      </dsp:txXfrm>
    </dsp:sp>
    <dsp:sp modelId="{A40363F3-5EF6-4FE3-A9DD-F857F99624C1}">
      <dsp:nvSpPr>
        <dsp:cNvPr id="0" name=""/>
        <dsp:cNvSpPr/>
      </dsp:nvSpPr>
      <dsp:spPr>
        <a:xfrm>
          <a:off x="1537967" y="1522272"/>
          <a:ext cx="2585898" cy="2585898"/>
        </a:xfrm>
        <a:prstGeom prst="circularArrow">
          <a:avLst>
            <a:gd name="adj1" fmla="val 4688"/>
            <a:gd name="adj2" fmla="val 299029"/>
            <a:gd name="adj3" fmla="val 2502445"/>
            <a:gd name="adj4" fmla="val 15891155"/>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ADC301E-2178-42A2-A939-4C2D23E2418D}">
      <dsp:nvSpPr>
        <dsp:cNvPr id="0" name=""/>
        <dsp:cNvSpPr/>
      </dsp:nvSpPr>
      <dsp:spPr>
        <a:xfrm>
          <a:off x="263334" y="1023564"/>
          <a:ext cx="1878816" cy="1878816"/>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9BA007B-9E11-477B-8E3F-89AAA158FE2C}">
      <dsp:nvSpPr>
        <dsp:cNvPr id="0" name=""/>
        <dsp:cNvSpPr/>
      </dsp:nvSpPr>
      <dsp:spPr>
        <a:xfrm>
          <a:off x="929132" y="-50597"/>
          <a:ext cx="2025742" cy="2025742"/>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CD0C9-3F1C-41FE-B19B-6A694957AE8A}">
      <dsp:nvSpPr>
        <dsp:cNvPr id="0" name=""/>
        <dsp:cNvSpPr/>
      </dsp:nvSpPr>
      <dsp:spPr>
        <a:xfrm>
          <a:off x="0" y="0"/>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pt-BR" sz="2400" kern="1200" dirty="0"/>
            <a:t>Órgãos e entidades do Poder Executivo Federal deverão:</a:t>
          </a:r>
        </a:p>
      </dsp:txBody>
      <dsp:txXfrm>
        <a:off x="28567" y="28567"/>
        <a:ext cx="5091953" cy="918226"/>
      </dsp:txXfrm>
    </dsp:sp>
    <dsp:sp modelId="{31B11963-B18C-4A1B-A54F-58923B4B957A}">
      <dsp:nvSpPr>
        <dsp:cNvPr id="0" name=""/>
        <dsp:cNvSpPr/>
      </dsp:nvSpPr>
      <dsp:spPr>
        <a:xfrm>
          <a:off x="467360" y="1110826"/>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Implementar, manter, monitorar e revisar os controles internos da gestão</a:t>
          </a:r>
        </a:p>
      </dsp:txBody>
      <dsp:txXfrm>
        <a:off x="495927" y="1139393"/>
        <a:ext cx="5100081" cy="918226"/>
      </dsp:txXfrm>
    </dsp:sp>
    <dsp:sp modelId="{99D32DBC-52B7-4476-B611-1EF26C6FC522}">
      <dsp:nvSpPr>
        <dsp:cNvPr id="0" name=""/>
        <dsp:cNvSpPr/>
      </dsp:nvSpPr>
      <dsp:spPr>
        <a:xfrm>
          <a:off x="934719" y="2221653"/>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Ter por base a identificação, a avaliação e o gerenciamento de riscos</a:t>
          </a:r>
        </a:p>
      </dsp:txBody>
      <dsp:txXfrm>
        <a:off x="963286" y="2250220"/>
        <a:ext cx="5100081" cy="918226"/>
      </dsp:txXfrm>
    </dsp:sp>
    <dsp:sp modelId="{1307F52F-4339-4AAA-B253-EDDA1EEF3E1C}">
      <dsp:nvSpPr>
        <dsp:cNvPr id="0" name=""/>
        <dsp:cNvSpPr/>
      </dsp:nvSpPr>
      <dsp:spPr>
        <a:xfrm>
          <a:off x="1402079" y="3332480"/>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Considerar os riscos que se pretende mitigar tendo em vista os objetivos das organizações públicas</a:t>
          </a:r>
        </a:p>
      </dsp:txBody>
      <dsp:txXfrm>
        <a:off x="1430646" y="3361047"/>
        <a:ext cx="5100081" cy="918226"/>
      </dsp:txXfrm>
    </dsp:sp>
    <dsp:sp modelId="{50B3346B-A1C6-46C8-9F88-9BA2EB03DB26}">
      <dsp:nvSpPr>
        <dsp:cNvPr id="0" name=""/>
        <dsp:cNvSpPr/>
      </dsp:nvSpPr>
      <dsp:spPr>
        <a:xfrm>
          <a:off x="1869439" y="4443306"/>
          <a:ext cx="6258560" cy="975360"/>
        </a:xfrm>
        <a:prstGeom prst="roundRect">
          <a:avLst>
            <a:gd name="adj" fmla="val 10000"/>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pt-BR" sz="1800" kern="1200" dirty="0"/>
            <a:t>Ter controles adequados para mitigar a probabilidade de ocorrência dos riscos, ou o seu impacto nos objetivos organizacionais</a:t>
          </a:r>
        </a:p>
      </dsp:txBody>
      <dsp:txXfrm>
        <a:off x="1898006" y="4471873"/>
        <a:ext cx="5100081" cy="918226"/>
      </dsp:txXfrm>
    </dsp:sp>
    <dsp:sp modelId="{95A863DE-530F-4B65-AAB4-5E205346A0C2}">
      <dsp:nvSpPr>
        <dsp:cNvPr id="0" name=""/>
        <dsp:cNvSpPr/>
      </dsp:nvSpPr>
      <dsp:spPr>
        <a:xfrm>
          <a:off x="5624575" y="712554"/>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5767221" y="712554"/>
        <a:ext cx="348692" cy="477073"/>
      </dsp:txXfrm>
    </dsp:sp>
    <dsp:sp modelId="{71821F0A-A373-47E6-A1E9-BF478BA218B0}">
      <dsp:nvSpPr>
        <dsp:cNvPr id="0" name=""/>
        <dsp:cNvSpPr/>
      </dsp:nvSpPr>
      <dsp:spPr>
        <a:xfrm>
          <a:off x="6091935" y="1823381"/>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6234581" y="1823381"/>
        <a:ext cx="348692" cy="477073"/>
      </dsp:txXfrm>
    </dsp:sp>
    <dsp:sp modelId="{750D56BD-FFE5-4AAF-AAFC-D2FE49828F9A}">
      <dsp:nvSpPr>
        <dsp:cNvPr id="0" name=""/>
        <dsp:cNvSpPr/>
      </dsp:nvSpPr>
      <dsp:spPr>
        <a:xfrm>
          <a:off x="6559295" y="2917952"/>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6701941" y="2917952"/>
        <a:ext cx="348692" cy="477073"/>
      </dsp:txXfrm>
    </dsp:sp>
    <dsp:sp modelId="{A5AF2F43-A184-4F2B-AF86-6F44C92A68F2}">
      <dsp:nvSpPr>
        <dsp:cNvPr id="0" name=""/>
        <dsp:cNvSpPr/>
      </dsp:nvSpPr>
      <dsp:spPr>
        <a:xfrm>
          <a:off x="7026655" y="4039616"/>
          <a:ext cx="633984" cy="633984"/>
        </a:xfrm>
        <a:prstGeom prst="downArrow">
          <a:avLst>
            <a:gd name="adj1" fmla="val 55000"/>
            <a:gd name="adj2" fmla="val 45000"/>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endParaRPr lang="pt-BR" sz="2800" kern="1200"/>
        </a:p>
      </dsp:txBody>
      <dsp:txXfrm>
        <a:off x="7169301" y="4039616"/>
        <a:ext cx="348692" cy="47707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78F11-969F-41F7-A4C4-9D4793F0A247}">
      <dsp:nvSpPr>
        <dsp:cNvPr id="0" name=""/>
        <dsp:cNvSpPr/>
      </dsp:nvSpPr>
      <dsp:spPr>
        <a:xfrm>
          <a:off x="0" y="2391"/>
          <a:ext cx="6123972" cy="0"/>
        </a:xfrm>
        <a:prstGeom prst="line">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3976AF-4486-4666-BAFC-9BB52954458E}">
      <dsp:nvSpPr>
        <dsp:cNvPr id="0" name=""/>
        <dsp:cNvSpPr/>
      </dsp:nvSpPr>
      <dsp:spPr>
        <a:xfrm>
          <a:off x="0" y="2391"/>
          <a:ext cx="1224794" cy="48928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1" kern="1200" dirty="0">
              <a:solidFill>
                <a:srgbClr val="006666"/>
              </a:solidFill>
            </a:rPr>
            <a:t>Os controles internos da gestão devem:</a:t>
          </a:r>
          <a:endParaRPr lang="pt-BR" sz="1800" kern="1200" dirty="0">
            <a:solidFill>
              <a:srgbClr val="006666"/>
            </a:solidFill>
          </a:endParaRPr>
        </a:p>
      </dsp:txBody>
      <dsp:txXfrm>
        <a:off x="0" y="2391"/>
        <a:ext cx="1224794" cy="4892894"/>
      </dsp:txXfrm>
    </dsp:sp>
    <dsp:sp modelId="{8DFE91C9-6768-4F8B-8418-7C1AC569E128}">
      <dsp:nvSpPr>
        <dsp:cNvPr id="0" name=""/>
        <dsp:cNvSpPr/>
      </dsp:nvSpPr>
      <dsp:spPr>
        <a:xfrm>
          <a:off x="1316653" y="48501"/>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06666"/>
              </a:solidFill>
            </a:rPr>
            <a:t>Ser efetivos e consistentes de acordo com a natureza, complexidade, estrutura e missão do órgão ou da entidade pública</a:t>
          </a:r>
        </a:p>
      </dsp:txBody>
      <dsp:txXfrm>
        <a:off x="1316653" y="48501"/>
        <a:ext cx="4807318" cy="922195"/>
      </dsp:txXfrm>
    </dsp:sp>
    <dsp:sp modelId="{55CA98C9-6860-4735-9B8E-406FD21FA5D6}">
      <dsp:nvSpPr>
        <dsp:cNvPr id="0" name=""/>
        <dsp:cNvSpPr/>
      </dsp:nvSpPr>
      <dsp:spPr>
        <a:xfrm>
          <a:off x="1224794" y="970697"/>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71D754C-8A28-4F5A-AABB-ACEF8ED73C56}">
      <dsp:nvSpPr>
        <dsp:cNvPr id="0" name=""/>
        <dsp:cNvSpPr/>
      </dsp:nvSpPr>
      <dsp:spPr>
        <a:xfrm>
          <a:off x="1316653" y="1016806"/>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kern="1200" dirty="0">
              <a:solidFill>
                <a:srgbClr val="006666"/>
              </a:solidFill>
            </a:rPr>
            <a:t>Considerar os seguintes componentes: </a:t>
          </a:r>
          <a:r>
            <a:rPr lang="pt-BR" sz="1800" b="1" kern="1200" dirty="0">
              <a:solidFill>
                <a:srgbClr val="006666"/>
              </a:solidFill>
            </a:rPr>
            <a:t>ambiente de controle</a:t>
          </a:r>
          <a:r>
            <a:rPr lang="pt-BR" sz="1800" kern="1200" dirty="0">
              <a:solidFill>
                <a:srgbClr val="006666"/>
              </a:solidFill>
            </a:rPr>
            <a:t>, </a:t>
          </a:r>
          <a:r>
            <a:rPr lang="pt-BR" sz="1800" b="1" kern="1200" dirty="0">
              <a:solidFill>
                <a:srgbClr val="006666"/>
              </a:solidFill>
            </a:rPr>
            <a:t>avaliação de riscos</a:t>
          </a:r>
          <a:r>
            <a:rPr lang="pt-BR" sz="1800" kern="1200" dirty="0">
              <a:solidFill>
                <a:srgbClr val="006666"/>
              </a:solidFill>
            </a:rPr>
            <a:t>, </a:t>
          </a:r>
          <a:r>
            <a:rPr lang="pt-BR" sz="1800" b="1" kern="1200" dirty="0">
              <a:solidFill>
                <a:srgbClr val="006666"/>
              </a:solidFill>
            </a:rPr>
            <a:t>atividade de controle</a:t>
          </a:r>
          <a:r>
            <a:rPr lang="pt-BR" sz="1800" kern="1200" dirty="0">
              <a:solidFill>
                <a:srgbClr val="006666"/>
              </a:solidFill>
            </a:rPr>
            <a:t>, </a:t>
          </a:r>
          <a:r>
            <a:rPr lang="pt-BR" sz="1800" b="1" kern="1200" dirty="0">
              <a:solidFill>
                <a:srgbClr val="006666"/>
              </a:solidFill>
            </a:rPr>
            <a:t>informação e comunicação</a:t>
          </a:r>
          <a:r>
            <a:rPr lang="pt-BR" sz="1800" kern="1200" dirty="0">
              <a:solidFill>
                <a:srgbClr val="006666"/>
              </a:solidFill>
            </a:rPr>
            <a:t>, e </a:t>
          </a:r>
          <a:r>
            <a:rPr lang="pt-BR" sz="1800" b="1" kern="1200" dirty="0">
              <a:solidFill>
                <a:srgbClr val="006666"/>
              </a:solidFill>
            </a:rPr>
            <a:t>monitoramento</a:t>
          </a:r>
        </a:p>
      </dsp:txBody>
      <dsp:txXfrm>
        <a:off x="1316653" y="1016806"/>
        <a:ext cx="4807318" cy="922195"/>
      </dsp:txXfrm>
    </dsp:sp>
    <dsp:sp modelId="{E3A4040E-11D5-46EC-ABC4-25831E890EC7}">
      <dsp:nvSpPr>
        <dsp:cNvPr id="0" name=""/>
        <dsp:cNvSpPr/>
      </dsp:nvSpPr>
      <dsp:spPr>
        <a:xfrm>
          <a:off x="1223030" y="2102083"/>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3FC9470-4809-4E24-9421-2697BA18B3FD}">
      <dsp:nvSpPr>
        <dsp:cNvPr id="0" name=""/>
        <dsp:cNvSpPr/>
      </dsp:nvSpPr>
      <dsp:spPr>
        <a:xfrm>
          <a:off x="1316365" y="2162967"/>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06666"/>
              </a:solidFill>
            </a:rPr>
            <a:t>Basear-se no gerenciamento de riscos</a:t>
          </a:r>
          <a:endParaRPr lang="pt-BR" sz="1800" b="1" kern="1200" dirty="0">
            <a:solidFill>
              <a:srgbClr val="006666"/>
            </a:solidFill>
          </a:endParaRPr>
        </a:p>
      </dsp:txBody>
      <dsp:txXfrm>
        <a:off x="1316365" y="2162967"/>
        <a:ext cx="4807318" cy="922195"/>
      </dsp:txXfrm>
    </dsp:sp>
    <dsp:sp modelId="{05562624-EDA3-41D6-8F15-9418CC558773}">
      <dsp:nvSpPr>
        <dsp:cNvPr id="0" name=""/>
        <dsp:cNvSpPr/>
      </dsp:nvSpPr>
      <dsp:spPr>
        <a:xfrm>
          <a:off x="1224794" y="2907308"/>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5CC8108-7B1F-4CB7-8F6D-FB1532DDD230}">
      <dsp:nvSpPr>
        <dsp:cNvPr id="0" name=""/>
        <dsp:cNvSpPr/>
      </dsp:nvSpPr>
      <dsp:spPr>
        <a:xfrm>
          <a:off x="1316653" y="2953418"/>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kern="1200" dirty="0">
              <a:solidFill>
                <a:srgbClr val="006666"/>
              </a:solidFill>
            </a:rPr>
            <a:t>Integrar as atividades, planos, ações, políticas, sistemas, recursos e esforços de todos que trabalhem na organização</a:t>
          </a:r>
          <a:endParaRPr lang="pt-BR" sz="1800" b="1" kern="1200" dirty="0">
            <a:solidFill>
              <a:srgbClr val="006666"/>
            </a:solidFill>
          </a:endParaRPr>
        </a:p>
      </dsp:txBody>
      <dsp:txXfrm>
        <a:off x="1316653" y="2953418"/>
        <a:ext cx="4807318" cy="922195"/>
      </dsp:txXfrm>
    </dsp:sp>
    <dsp:sp modelId="{47C74D37-CDC1-4C32-AE2D-FBA84F52E745}">
      <dsp:nvSpPr>
        <dsp:cNvPr id="0" name=""/>
        <dsp:cNvSpPr/>
      </dsp:nvSpPr>
      <dsp:spPr>
        <a:xfrm>
          <a:off x="1224794" y="3875614"/>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D52575D-D80F-4C87-9651-79D93E6CC4CB}">
      <dsp:nvSpPr>
        <dsp:cNvPr id="0" name=""/>
        <dsp:cNvSpPr/>
      </dsp:nvSpPr>
      <dsp:spPr>
        <a:xfrm>
          <a:off x="1316653" y="3921723"/>
          <a:ext cx="4807318" cy="9221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06666"/>
              </a:solidFill>
            </a:rPr>
            <a:t>Ser implementados como uma série de ações que permeiam as atividades da organização</a:t>
          </a:r>
        </a:p>
      </dsp:txBody>
      <dsp:txXfrm>
        <a:off x="1316653" y="3921723"/>
        <a:ext cx="4807318" cy="922195"/>
      </dsp:txXfrm>
    </dsp:sp>
    <dsp:sp modelId="{53A519FD-2A47-423E-B753-2FE23F2CB963}">
      <dsp:nvSpPr>
        <dsp:cNvPr id="0" name=""/>
        <dsp:cNvSpPr/>
      </dsp:nvSpPr>
      <dsp:spPr>
        <a:xfrm>
          <a:off x="1224794" y="4843919"/>
          <a:ext cx="4899177"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75174F-476F-4FE1-A361-5688BBB8B5EB}">
      <dsp:nvSpPr>
        <dsp:cNvPr id="0" name=""/>
        <dsp:cNvSpPr/>
      </dsp:nvSpPr>
      <dsp:spPr>
        <a:xfrm rot="5400000">
          <a:off x="590999" y="1236739"/>
          <a:ext cx="1778694" cy="2959707"/>
        </a:xfrm>
        <a:prstGeom prst="corner">
          <a:avLst>
            <a:gd name="adj1" fmla="val 16120"/>
            <a:gd name="adj2" fmla="val 1611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BC5D6D1-ACCD-41D5-8720-AB19B38EB6C7}">
      <dsp:nvSpPr>
        <dsp:cNvPr id="0" name=""/>
        <dsp:cNvSpPr/>
      </dsp:nvSpPr>
      <dsp:spPr>
        <a:xfrm>
          <a:off x="294091" y="2121054"/>
          <a:ext cx="2672040" cy="234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marL="0" lvl="0" indent="0" algn="l" defTabSz="889000">
            <a:lnSpc>
              <a:spcPct val="90000"/>
            </a:lnSpc>
            <a:spcBef>
              <a:spcPct val="0"/>
            </a:spcBef>
            <a:spcAft>
              <a:spcPct val="35000"/>
            </a:spcAft>
            <a:buNone/>
          </a:pPr>
          <a:r>
            <a:rPr lang="pt-BR" sz="2000" b="1" kern="1200" dirty="0">
              <a:solidFill>
                <a:srgbClr val="035363"/>
              </a:solidFill>
            </a:rPr>
            <a:t>Os dirigentes máximos</a:t>
          </a:r>
        </a:p>
      </dsp:txBody>
      <dsp:txXfrm>
        <a:off x="294091" y="2121054"/>
        <a:ext cx="2672040" cy="2342200"/>
      </dsp:txXfrm>
    </dsp:sp>
    <dsp:sp modelId="{EF7DD79E-F428-4921-9EC8-57479D7CF8DE}">
      <dsp:nvSpPr>
        <dsp:cNvPr id="0" name=""/>
        <dsp:cNvSpPr/>
      </dsp:nvSpPr>
      <dsp:spPr>
        <a:xfrm>
          <a:off x="2461973" y="1018842"/>
          <a:ext cx="504158" cy="504158"/>
        </a:xfrm>
        <a:prstGeom prst="triangle">
          <a:avLst>
            <a:gd name="adj" fmla="val 10000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E13203-C520-4B26-BB3C-667771E560CA}">
      <dsp:nvSpPr>
        <dsp:cNvPr id="0" name=""/>
        <dsp:cNvSpPr/>
      </dsp:nvSpPr>
      <dsp:spPr>
        <a:xfrm rot="5400000">
          <a:off x="3862099" y="427302"/>
          <a:ext cx="1778694" cy="2959707"/>
        </a:xfrm>
        <a:prstGeom prst="corner">
          <a:avLst>
            <a:gd name="adj1" fmla="val 16120"/>
            <a:gd name="adj2" fmla="val 1611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32C8E08-ECC3-44E2-BFA8-EFC0765C9C1E}">
      <dsp:nvSpPr>
        <dsp:cNvPr id="0" name=""/>
        <dsp:cNvSpPr/>
      </dsp:nvSpPr>
      <dsp:spPr>
        <a:xfrm>
          <a:off x="3565191" y="1311617"/>
          <a:ext cx="2672040" cy="234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35363"/>
              </a:solidFill>
            </a:rPr>
            <a:t>devem assegurar que os  procedimentos de </a:t>
          </a:r>
          <a:r>
            <a:rPr lang="pt-BR" sz="1800" b="0" u="sng" kern="1200" dirty="0">
              <a:solidFill>
                <a:srgbClr val="035363"/>
              </a:solidFill>
            </a:rPr>
            <a:t>implementação de controles internos façam parte das práticas de gerenciamento de riscos</a:t>
          </a:r>
          <a:endParaRPr lang="pt-BR" sz="1800" b="0" u="sng" kern="1200" dirty="0"/>
        </a:p>
      </dsp:txBody>
      <dsp:txXfrm>
        <a:off x="3565191" y="1311617"/>
        <a:ext cx="2672040" cy="2342200"/>
      </dsp:txXfrm>
    </dsp:sp>
    <dsp:sp modelId="{B3DDA57A-3B72-45B0-9314-FBD84C2CE9E0}">
      <dsp:nvSpPr>
        <dsp:cNvPr id="0" name=""/>
        <dsp:cNvSpPr/>
      </dsp:nvSpPr>
      <dsp:spPr>
        <a:xfrm>
          <a:off x="5733073" y="209405"/>
          <a:ext cx="504158" cy="504158"/>
        </a:xfrm>
        <a:prstGeom prst="triangle">
          <a:avLst>
            <a:gd name="adj" fmla="val 10000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B03D07-C90C-4133-9324-344AA0CEE832}">
      <dsp:nvSpPr>
        <dsp:cNvPr id="0" name=""/>
        <dsp:cNvSpPr/>
      </dsp:nvSpPr>
      <dsp:spPr>
        <a:xfrm rot="5400000">
          <a:off x="7133199" y="-382134"/>
          <a:ext cx="1778694" cy="2959707"/>
        </a:xfrm>
        <a:prstGeom prst="corner">
          <a:avLst>
            <a:gd name="adj1" fmla="val 16120"/>
            <a:gd name="adj2" fmla="val 16110"/>
          </a:avLst>
        </a:prstGeom>
        <a:solidFill>
          <a:srgbClr val="035363"/>
        </a:solidFill>
        <a:ln w="12700" cap="flat" cmpd="sng" algn="ctr">
          <a:solidFill>
            <a:srgbClr val="035363"/>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23CEE49-5E51-436B-AF1C-213410EF5BDE}">
      <dsp:nvSpPr>
        <dsp:cNvPr id="0" name=""/>
        <dsp:cNvSpPr/>
      </dsp:nvSpPr>
      <dsp:spPr>
        <a:xfrm>
          <a:off x="6836291" y="502180"/>
          <a:ext cx="2672040" cy="2342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pt-BR" sz="1800" b="0" kern="1200" dirty="0">
              <a:solidFill>
                <a:srgbClr val="035363"/>
              </a:solidFill>
            </a:rPr>
            <a:t>podem </a:t>
          </a:r>
          <a:r>
            <a:rPr lang="pt-BR" sz="1800" b="0" u="sng" kern="1200" dirty="0">
              <a:solidFill>
                <a:srgbClr val="035363"/>
              </a:solidFill>
            </a:rPr>
            <a:t>estabelecer instâncias de 2ª Linha (ou camada) de defesa</a:t>
          </a:r>
          <a:r>
            <a:rPr lang="pt-BR" sz="1800" b="0" kern="1200" dirty="0">
              <a:solidFill>
                <a:srgbClr val="035363"/>
              </a:solidFill>
            </a:rPr>
            <a:t> para supervisão e monitoramento dos controles internos</a:t>
          </a:r>
          <a:endParaRPr lang="pt-BR" sz="1800" b="0" kern="1200" dirty="0"/>
        </a:p>
      </dsp:txBody>
      <dsp:txXfrm>
        <a:off x="6836291" y="502180"/>
        <a:ext cx="2672040" cy="23422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28EF31-825F-4C0E-9DF8-EDA798C536B0}">
      <dsp:nvSpPr>
        <dsp:cNvPr id="0" name=""/>
        <dsp:cNvSpPr/>
      </dsp:nvSpPr>
      <dsp:spPr>
        <a:xfrm>
          <a:off x="1279" y="-162205"/>
          <a:ext cx="1991320" cy="40640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t-BR" sz="2400" kern="1200" dirty="0"/>
            <a:t>Ampliar</a:t>
          </a:r>
        </a:p>
      </dsp:txBody>
      <dsp:txXfrm>
        <a:off x="1279" y="1463394"/>
        <a:ext cx="1991320" cy="1625600"/>
      </dsp:txXfrm>
    </dsp:sp>
    <dsp:sp modelId="{7EB3CF67-F3A3-4AAD-84E2-A46572D21829}">
      <dsp:nvSpPr>
        <dsp:cNvPr id="0" name=""/>
        <dsp:cNvSpPr/>
      </dsp:nvSpPr>
      <dsp:spPr>
        <a:xfrm>
          <a:off x="320284" y="81634"/>
          <a:ext cx="1353312" cy="1353312"/>
        </a:xfrm>
        <a:prstGeom prst="ellipse">
          <a:avLst/>
        </a:prstGeom>
        <a:blipFill>
          <a:blip xmlns:r="http://schemas.openxmlformats.org/officeDocument/2006/relationships" r:embed="rId1"/>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D368CC-79AF-43C5-AD71-9B78D82936AC}">
      <dsp:nvSpPr>
        <dsp:cNvPr id="0" name=""/>
        <dsp:cNvSpPr/>
      </dsp:nvSpPr>
      <dsp:spPr>
        <a:xfrm>
          <a:off x="2052339" y="-162205"/>
          <a:ext cx="1991320" cy="4064000"/>
        </a:xfrm>
        <a:prstGeom prst="roundRect">
          <a:avLst>
            <a:gd name="adj" fmla="val 10000"/>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t-BR" sz="2400" kern="1200" dirty="0"/>
            <a:t>Modificar</a:t>
          </a:r>
        </a:p>
      </dsp:txBody>
      <dsp:txXfrm>
        <a:off x="2052339" y="1463394"/>
        <a:ext cx="1991320" cy="1625600"/>
      </dsp:txXfrm>
    </dsp:sp>
    <dsp:sp modelId="{18E34041-8483-44C6-8EAF-A4BC98EFFFE3}">
      <dsp:nvSpPr>
        <dsp:cNvPr id="0" name=""/>
        <dsp:cNvSpPr/>
      </dsp:nvSpPr>
      <dsp:spPr>
        <a:xfrm>
          <a:off x="2371344" y="81634"/>
          <a:ext cx="1353312" cy="1353312"/>
        </a:xfrm>
        <a:prstGeom prst="ellipse">
          <a:avLst/>
        </a:prstGeom>
        <a:blipFill rotWithShape="1">
          <a:blip xmlns:r="http://schemas.openxmlformats.org/officeDocument/2006/relationships" r:embed="rId2"/>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FE345B5-20FD-4077-94C2-1A4517F6A43D}">
      <dsp:nvSpPr>
        <dsp:cNvPr id="0" name=""/>
        <dsp:cNvSpPr/>
      </dsp:nvSpPr>
      <dsp:spPr>
        <a:xfrm>
          <a:off x="4103399" y="-162205"/>
          <a:ext cx="1991320" cy="4064000"/>
        </a:xfrm>
        <a:prstGeom prst="roundRect">
          <a:avLst>
            <a:gd name="adj" fmla="val 10000"/>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pt-BR" sz="2400" kern="1200" dirty="0"/>
            <a:t>Descontinuar</a:t>
          </a:r>
        </a:p>
      </dsp:txBody>
      <dsp:txXfrm>
        <a:off x="4103399" y="1463394"/>
        <a:ext cx="1991320" cy="1625600"/>
      </dsp:txXfrm>
    </dsp:sp>
    <dsp:sp modelId="{7AFFFBEC-640B-4D26-AFC6-05791A689971}">
      <dsp:nvSpPr>
        <dsp:cNvPr id="0" name=""/>
        <dsp:cNvSpPr/>
      </dsp:nvSpPr>
      <dsp:spPr>
        <a:xfrm>
          <a:off x="4422403" y="81634"/>
          <a:ext cx="1353312" cy="1353312"/>
        </a:xfrm>
        <a:prstGeom prst="ellipse">
          <a:avLst/>
        </a:prstGeom>
        <a:blipFill>
          <a:blip xmlns:r="http://schemas.openxmlformats.org/officeDocument/2006/relationships" r:embed="rId3"/>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64A9EB3-6888-493B-8B23-829E3E504809}">
      <dsp:nvSpPr>
        <dsp:cNvPr id="0" name=""/>
        <dsp:cNvSpPr/>
      </dsp:nvSpPr>
      <dsp:spPr>
        <a:xfrm>
          <a:off x="243839" y="2561382"/>
          <a:ext cx="5608320" cy="1664823"/>
        </a:xfrm>
        <a:prstGeom prst="leftRightArrow">
          <a:avLst/>
        </a:prstGeom>
        <a:pattFill prst="pct5">
          <a:fgClr>
            <a:schemeClr val="lt1"/>
          </a:fgClr>
          <a:bgClr>
            <a:schemeClr val="bg1"/>
          </a:bgClr>
        </a:pattFill>
        <a:ln w="12700" cap="flat" cmpd="sng" algn="ctr">
          <a:solidFill>
            <a:schemeClr val="accent6"/>
          </a:solidFill>
          <a:prstDash val="solid"/>
          <a:miter lim="800000"/>
        </a:ln>
        <a:effectLst/>
      </dsp:spPr>
      <dsp:style>
        <a:lnRef idx="2">
          <a:schemeClr val="accent6"/>
        </a:lnRef>
        <a:fillRef idx="1">
          <a:schemeClr val="lt1"/>
        </a:fillRef>
        <a:effectRef idx="0">
          <a:schemeClr val="accent6"/>
        </a:effectRef>
        <a:fontRef idx="minor">
          <a:schemeClr val="dk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1261D6-47C3-48B0-8A29-8BB5F8281222}">
      <dsp:nvSpPr>
        <dsp:cNvPr id="0" name=""/>
        <dsp:cNvSpPr/>
      </dsp:nvSpPr>
      <dsp:spPr>
        <a:xfrm rot="5400000">
          <a:off x="449254" y="2186096"/>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2C1CF010-2521-4DB3-BBE6-8CD369D82996}">
      <dsp:nvSpPr>
        <dsp:cNvPr id="0" name=""/>
        <dsp:cNvSpPr/>
      </dsp:nvSpPr>
      <dsp:spPr>
        <a:xfrm>
          <a:off x="225517" y="2852478"/>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dirty="0"/>
            <a:t>Fomento</a:t>
          </a:r>
        </a:p>
      </dsp:txBody>
      <dsp:txXfrm>
        <a:off x="225517" y="2852478"/>
        <a:ext cx="2013536" cy="1764982"/>
      </dsp:txXfrm>
    </dsp:sp>
    <dsp:sp modelId="{5093C2B9-A475-41E4-97DE-DA06149FA686}">
      <dsp:nvSpPr>
        <dsp:cNvPr id="0" name=""/>
        <dsp:cNvSpPr/>
      </dsp:nvSpPr>
      <dsp:spPr>
        <a:xfrm>
          <a:off x="1859141" y="2021898"/>
          <a:ext cx="379912" cy="379912"/>
        </a:xfrm>
        <a:prstGeom prst="triangle">
          <a:avLst>
            <a:gd name="adj" fmla="val 10000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ABE11E67-26AF-4037-8C4C-529656F213E4}">
      <dsp:nvSpPr>
        <dsp:cNvPr id="0" name=""/>
        <dsp:cNvSpPr/>
      </dsp:nvSpPr>
      <dsp:spPr>
        <a:xfrm rot="5400000">
          <a:off x="2914216" y="1576139"/>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97FA9CDA-A651-4F7A-A213-BC2134E779E0}">
      <dsp:nvSpPr>
        <dsp:cNvPr id="0" name=""/>
        <dsp:cNvSpPr/>
      </dsp:nvSpPr>
      <dsp:spPr>
        <a:xfrm>
          <a:off x="2690479" y="2242521"/>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a:t>Apoio/suporte</a:t>
          </a:r>
          <a:endParaRPr lang="pt-BR" sz="2400" kern="1200" dirty="0"/>
        </a:p>
      </dsp:txBody>
      <dsp:txXfrm>
        <a:off x="2690479" y="2242521"/>
        <a:ext cx="2013536" cy="1764982"/>
      </dsp:txXfrm>
    </dsp:sp>
    <dsp:sp modelId="{6BAE74F6-40EE-421F-81BC-83DD293161C2}">
      <dsp:nvSpPr>
        <dsp:cNvPr id="0" name=""/>
        <dsp:cNvSpPr/>
      </dsp:nvSpPr>
      <dsp:spPr>
        <a:xfrm>
          <a:off x="4324102" y="1411941"/>
          <a:ext cx="379912" cy="379912"/>
        </a:xfrm>
        <a:prstGeom prst="triangle">
          <a:avLst>
            <a:gd name="adj" fmla="val 10000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5B25B90A-CCDC-4988-BE6D-D7BE0835D1D1}">
      <dsp:nvSpPr>
        <dsp:cNvPr id="0" name=""/>
        <dsp:cNvSpPr/>
      </dsp:nvSpPr>
      <dsp:spPr>
        <a:xfrm rot="5400000">
          <a:off x="5379178" y="966182"/>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BC781544-DCFC-44C8-8F61-8088E19F6570}">
      <dsp:nvSpPr>
        <dsp:cNvPr id="0" name=""/>
        <dsp:cNvSpPr/>
      </dsp:nvSpPr>
      <dsp:spPr>
        <a:xfrm>
          <a:off x="5155440" y="1632564"/>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dirty="0"/>
            <a:t>Apropriação do processo de GR da unidade</a:t>
          </a:r>
        </a:p>
      </dsp:txBody>
      <dsp:txXfrm>
        <a:off x="5155440" y="1632564"/>
        <a:ext cx="2013536" cy="1764982"/>
      </dsp:txXfrm>
    </dsp:sp>
    <dsp:sp modelId="{D9FA05A5-F441-4BE1-9028-374611C6B959}">
      <dsp:nvSpPr>
        <dsp:cNvPr id="0" name=""/>
        <dsp:cNvSpPr/>
      </dsp:nvSpPr>
      <dsp:spPr>
        <a:xfrm>
          <a:off x="6789064" y="801984"/>
          <a:ext cx="379912" cy="379912"/>
        </a:xfrm>
        <a:prstGeom prst="triangle">
          <a:avLst>
            <a:gd name="adj" fmla="val 10000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327B27A6-5F18-47BC-A287-A43F2559EFFF}">
      <dsp:nvSpPr>
        <dsp:cNvPr id="0" name=""/>
        <dsp:cNvSpPr/>
      </dsp:nvSpPr>
      <dsp:spPr>
        <a:xfrm rot="5400000">
          <a:off x="7844140" y="356224"/>
          <a:ext cx="1340348" cy="2230309"/>
        </a:xfrm>
        <a:prstGeom prst="corner">
          <a:avLst>
            <a:gd name="adj1" fmla="val 16120"/>
            <a:gd name="adj2" fmla="val 16110"/>
          </a:avLst>
        </a:prstGeom>
        <a:solidFill>
          <a:schemeClr val="tx2">
            <a:lumMod val="75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299F5000-FBA2-4355-836A-CA1B5D73BF78}">
      <dsp:nvSpPr>
        <dsp:cNvPr id="0" name=""/>
        <dsp:cNvSpPr/>
      </dsp:nvSpPr>
      <dsp:spPr>
        <a:xfrm>
          <a:off x="7620402" y="1022607"/>
          <a:ext cx="2013536" cy="17649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pt-BR" sz="2400" kern="1200" dirty="0"/>
            <a:t>Avaliação</a:t>
          </a:r>
        </a:p>
      </dsp:txBody>
      <dsp:txXfrm>
        <a:off x="7620402" y="1022607"/>
        <a:ext cx="2013536" cy="176498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B9E97-242C-48D6-97A4-57D74DE6CDB6}">
      <dsp:nvSpPr>
        <dsp:cNvPr id="0" name=""/>
        <dsp:cNvSpPr/>
      </dsp:nvSpPr>
      <dsp:spPr>
        <a:xfrm>
          <a:off x="676802" y="3506"/>
          <a:ext cx="4175922" cy="2581737"/>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pt-BR" sz="2800" kern="1200" dirty="0"/>
            <a:t>Composto pelo dirigente máximo e pelos dirigentes das unidades a ele diretamente subordinadas</a:t>
          </a:r>
        </a:p>
      </dsp:txBody>
      <dsp:txXfrm>
        <a:off x="802832" y="129536"/>
        <a:ext cx="3923862" cy="232967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47AE1-241F-4130-819D-DDFCEB0FCC93}">
      <dsp:nvSpPr>
        <dsp:cNvPr id="0" name=""/>
        <dsp:cNvSpPr/>
      </dsp:nvSpPr>
      <dsp:spPr>
        <a:xfrm>
          <a:off x="3429152" y="0"/>
          <a:ext cx="2779271" cy="2779694"/>
        </a:xfrm>
        <a:prstGeom prst="circularArrow">
          <a:avLst>
            <a:gd name="adj1" fmla="val 10980"/>
            <a:gd name="adj2" fmla="val 1142322"/>
            <a:gd name="adj3" fmla="val 4500000"/>
            <a:gd name="adj4" fmla="val 10800000"/>
            <a:gd name="adj5" fmla="val 1250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BC4908-88CF-468D-8ABC-5E6E75481236}">
      <dsp:nvSpPr>
        <dsp:cNvPr id="0" name=""/>
        <dsp:cNvSpPr/>
      </dsp:nvSpPr>
      <dsp:spPr>
        <a:xfrm>
          <a:off x="4043463" y="1003554"/>
          <a:ext cx="1544387" cy="7720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pt-BR" sz="2400" b="0" kern="1200" dirty="0"/>
            <a:t>Governança</a:t>
          </a:r>
        </a:p>
      </dsp:txBody>
      <dsp:txXfrm>
        <a:off x="4043463" y="1003554"/>
        <a:ext cx="1544387" cy="772009"/>
      </dsp:txXfrm>
    </dsp:sp>
    <dsp:sp modelId="{CC9605E2-2D66-40E7-AE65-747D1EDA8207}">
      <dsp:nvSpPr>
        <dsp:cNvPr id="0" name=""/>
        <dsp:cNvSpPr/>
      </dsp:nvSpPr>
      <dsp:spPr>
        <a:xfrm>
          <a:off x="2657219" y="1597140"/>
          <a:ext cx="2779271" cy="2779694"/>
        </a:xfrm>
        <a:prstGeom prst="leftCircularArrow">
          <a:avLst>
            <a:gd name="adj1" fmla="val 10980"/>
            <a:gd name="adj2" fmla="val 1142322"/>
            <a:gd name="adj3" fmla="val 6300000"/>
            <a:gd name="adj4" fmla="val 18900000"/>
            <a:gd name="adj5" fmla="val 1250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70063A0-A1F8-49C0-BC27-20901FF53408}">
      <dsp:nvSpPr>
        <dsp:cNvPr id="0" name=""/>
        <dsp:cNvSpPr/>
      </dsp:nvSpPr>
      <dsp:spPr>
        <a:xfrm>
          <a:off x="3274661" y="2609933"/>
          <a:ext cx="1544387" cy="7720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t-BR" sz="1700" kern="1200" dirty="0"/>
            <a:t>Conjunto eficiente de mecanismos</a:t>
          </a:r>
        </a:p>
      </dsp:txBody>
      <dsp:txXfrm>
        <a:off x="3274661" y="2609933"/>
        <a:ext cx="1544387" cy="772009"/>
      </dsp:txXfrm>
    </dsp:sp>
    <dsp:sp modelId="{04D7B820-44EE-4453-92B0-9BFD05EB838C}">
      <dsp:nvSpPr>
        <dsp:cNvPr id="0" name=""/>
        <dsp:cNvSpPr/>
      </dsp:nvSpPr>
      <dsp:spPr>
        <a:xfrm>
          <a:off x="3626963" y="3385407"/>
          <a:ext cx="2387824" cy="2388781"/>
        </a:xfrm>
        <a:prstGeom prst="blockArc">
          <a:avLst>
            <a:gd name="adj1" fmla="val 13500000"/>
            <a:gd name="adj2" fmla="val 10800000"/>
            <a:gd name="adj3" fmla="val 12740"/>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2709A6-2AA5-427D-9370-FE6C40F500AF}">
      <dsp:nvSpPr>
        <dsp:cNvPr id="0" name=""/>
        <dsp:cNvSpPr/>
      </dsp:nvSpPr>
      <dsp:spPr>
        <a:xfrm>
          <a:off x="4047116" y="4218622"/>
          <a:ext cx="1544387" cy="7720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pt-BR" sz="1700" kern="1200" dirty="0"/>
            <a:t>Ações alinhadas ao interesse público</a:t>
          </a:r>
        </a:p>
      </dsp:txBody>
      <dsp:txXfrm>
        <a:off x="4047116" y="4218622"/>
        <a:ext cx="1544387" cy="77200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28CE7B-19B2-49ED-870B-1A26508F3DC2}">
      <dsp:nvSpPr>
        <dsp:cNvPr id="0" name=""/>
        <dsp:cNvSpPr/>
      </dsp:nvSpPr>
      <dsp:spPr>
        <a:xfrm>
          <a:off x="0" y="51996"/>
          <a:ext cx="11326333" cy="6236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pt-BR" sz="2600" kern="1200" dirty="0"/>
            <a:t>Comitê Interministerial de Governança - CIG</a:t>
          </a:r>
        </a:p>
      </dsp:txBody>
      <dsp:txXfrm>
        <a:off x="30442" y="82438"/>
        <a:ext cx="11265449" cy="562726"/>
      </dsp:txXfrm>
    </dsp:sp>
    <dsp:sp modelId="{7C44D15D-41BF-40F4-9EBD-BA8DE44526EF}">
      <dsp:nvSpPr>
        <dsp:cNvPr id="0" name=""/>
        <dsp:cNvSpPr/>
      </dsp:nvSpPr>
      <dsp:spPr>
        <a:xfrm>
          <a:off x="0" y="675607"/>
          <a:ext cx="11326333" cy="2098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9611"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pt-BR" sz="2000" kern="1200" dirty="0"/>
            <a:t>Órgão colegiado para assessoramento da PR</a:t>
          </a:r>
        </a:p>
        <a:p>
          <a:pPr marL="228600" lvl="1" indent="-228600" algn="l" defTabSz="889000">
            <a:lnSpc>
              <a:spcPct val="90000"/>
            </a:lnSpc>
            <a:spcBef>
              <a:spcPct val="0"/>
            </a:spcBef>
            <a:spcAft>
              <a:spcPct val="20000"/>
            </a:spcAft>
            <a:buChar char="•"/>
          </a:pPr>
          <a:r>
            <a:rPr lang="pt-BR" sz="2000" kern="1200" dirty="0"/>
            <a:t>Titulares:</a:t>
          </a:r>
        </a:p>
        <a:p>
          <a:pPr marL="457200" lvl="2" indent="-228600" algn="l" defTabSz="889000">
            <a:lnSpc>
              <a:spcPct val="90000"/>
            </a:lnSpc>
            <a:spcBef>
              <a:spcPct val="0"/>
            </a:spcBef>
            <a:spcAft>
              <a:spcPct val="20000"/>
            </a:spcAft>
            <a:buFont typeface="Courier New" panose="02070309020205020404" pitchFamily="49" charset="0"/>
            <a:buChar char="o"/>
          </a:pPr>
          <a:r>
            <a:rPr lang="pt-BR" sz="2000" kern="1200" dirty="0"/>
            <a:t>Casa civil – coordenador </a:t>
          </a:r>
        </a:p>
        <a:p>
          <a:pPr marL="457200" lvl="2" indent="-228600" algn="l" defTabSz="889000">
            <a:lnSpc>
              <a:spcPct val="90000"/>
            </a:lnSpc>
            <a:spcBef>
              <a:spcPct val="0"/>
            </a:spcBef>
            <a:spcAft>
              <a:spcPct val="20000"/>
            </a:spcAft>
            <a:buFont typeface="Courier New" panose="02070309020205020404" pitchFamily="49" charset="0"/>
            <a:buChar char="o"/>
          </a:pPr>
          <a:r>
            <a:rPr lang="pt-BR" sz="2000" kern="1200" dirty="0"/>
            <a:t>Economia</a:t>
          </a:r>
        </a:p>
        <a:p>
          <a:pPr marL="457200" lvl="2" indent="-228600" algn="l" defTabSz="889000">
            <a:lnSpc>
              <a:spcPct val="90000"/>
            </a:lnSpc>
            <a:spcBef>
              <a:spcPct val="0"/>
            </a:spcBef>
            <a:spcAft>
              <a:spcPct val="20000"/>
            </a:spcAft>
            <a:buFont typeface="Courier New" panose="02070309020205020404" pitchFamily="49" charset="0"/>
            <a:buChar char="o"/>
          </a:pPr>
          <a:r>
            <a:rPr lang="pt-BR" sz="2000" kern="1200" dirty="0"/>
            <a:t>CGU</a:t>
          </a:r>
        </a:p>
        <a:p>
          <a:pPr marL="228600" lvl="1" indent="-228600" algn="l" defTabSz="889000">
            <a:lnSpc>
              <a:spcPct val="90000"/>
            </a:lnSpc>
            <a:spcBef>
              <a:spcPct val="0"/>
            </a:spcBef>
            <a:spcAft>
              <a:spcPct val="20000"/>
            </a:spcAft>
            <a:buFont typeface="Arial" panose="020B0604020202020204" pitchFamily="34" charset="0"/>
            <a:buChar char="•"/>
          </a:pPr>
          <a:r>
            <a:rPr lang="pt-BR" sz="2000" kern="1200" dirty="0"/>
            <a:t>Recomendações e resoluções</a:t>
          </a:r>
        </a:p>
      </dsp:txBody>
      <dsp:txXfrm>
        <a:off x="0" y="675607"/>
        <a:ext cx="11326333" cy="2098980"/>
      </dsp:txXfrm>
    </dsp:sp>
    <dsp:sp modelId="{C0D59C97-BBA4-499C-BFF7-3E88810D4658}">
      <dsp:nvSpPr>
        <dsp:cNvPr id="0" name=""/>
        <dsp:cNvSpPr/>
      </dsp:nvSpPr>
      <dsp:spPr>
        <a:xfrm>
          <a:off x="0" y="2774587"/>
          <a:ext cx="11326333" cy="623610"/>
        </a:xfrm>
        <a:prstGeom prst="round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a:lnSpc>
              <a:spcPct val="90000"/>
            </a:lnSpc>
            <a:spcBef>
              <a:spcPct val="0"/>
            </a:spcBef>
            <a:spcAft>
              <a:spcPct val="35000"/>
            </a:spcAft>
            <a:buNone/>
          </a:pPr>
          <a:r>
            <a:rPr lang="pt-BR" sz="2600" kern="1200" dirty="0"/>
            <a:t>Comitê interno de governança </a:t>
          </a:r>
        </a:p>
      </dsp:txBody>
      <dsp:txXfrm>
        <a:off x="30442" y="2805029"/>
        <a:ext cx="11265449" cy="562726"/>
      </dsp:txXfrm>
    </dsp:sp>
    <dsp:sp modelId="{0A47A2E8-DA26-46A9-8474-C21C2B95CD0C}">
      <dsp:nvSpPr>
        <dsp:cNvPr id="0" name=""/>
        <dsp:cNvSpPr/>
      </dsp:nvSpPr>
      <dsp:spPr>
        <a:xfrm>
          <a:off x="0" y="3398197"/>
          <a:ext cx="11326333" cy="16684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9611" tIns="33020" rIns="184912" bIns="33020" numCol="1" spcCol="1270" anchor="t" anchorCtr="0">
          <a:noAutofit/>
        </a:bodyPr>
        <a:lstStyle/>
        <a:p>
          <a:pPr marL="228600" lvl="1" indent="-228600" algn="l" defTabSz="889000">
            <a:lnSpc>
              <a:spcPct val="90000"/>
            </a:lnSpc>
            <a:spcBef>
              <a:spcPct val="0"/>
            </a:spcBef>
            <a:spcAft>
              <a:spcPct val="20000"/>
            </a:spcAft>
            <a:buChar char="•"/>
          </a:pPr>
          <a:r>
            <a:rPr lang="pt-BR" sz="2000" b="0" i="0" kern="1200" dirty="0"/>
            <a:t>I - auxiliar a alta administração;</a:t>
          </a:r>
          <a:endParaRPr lang="pt-BR" sz="2000" kern="1200" dirty="0"/>
        </a:p>
        <a:p>
          <a:pPr marL="228600" lvl="1" indent="-228600" algn="l" defTabSz="889000">
            <a:lnSpc>
              <a:spcPct val="90000"/>
            </a:lnSpc>
            <a:spcBef>
              <a:spcPct val="0"/>
            </a:spcBef>
            <a:spcAft>
              <a:spcPct val="20000"/>
            </a:spcAft>
            <a:buChar char="•"/>
          </a:pPr>
          <a:r>
            <a:rPr lang="pt-BR" sz="2000" b="0" i="0" kern="1200" dirty="0"/>
            <a:t>II - incentivar e promover iniciativas</a:t>
          </a:r>
        </a:p>
        <a:p>
          <a:pPr marL="228600" lvl="1" indent="-228600" algn="l" defTabSz="889000">
            <a:lnSpc>
              <a:spcPct val="90000"/>
            </a:lnSpc>
            <a:spcBef>
              <a:spcPct val="0"/>
            </a:spcBef>
            <a:spcAft>
              <a:spcPct val="20000"/>
            </a:spcAft>
            <a:buChar char="•"/>
          </a:pPr>
          <a:r>
            <a:rPr lang="pt-BR" sz="2000" b="0" i="0" kern="1200" dirty="0"/>
            <a:t>III - promover e acompanhar a implementação das medidas, dos mecanismos e das práticas organizacionais de governança definidos pelo CIG em seus manuais e em suas resoluções; e</a:t>
          </a:r>
        </a:p>
        <a:p>
          <a:pPr marL="228600" lvl="1" indent="-228600" algn="l" defTabSz="889000">
            <a:lnSpc>
              <a:spcPct val="90000"/>
            </a:lnSpc>
            <a:spcBef>
              <a:spcPct val="0"/>
            </a:spcBef>
            <a:spcAft>
              <a:spcPct val="20000"/>
            </a:spcAft>
            <a:buChar char="•"/>
          </a:pPr>
          <a:r>
            <a:rPr lang="pt-BR" sz="2000" b="0" i="0" kern="1200" dirty="0"/>
            <a:t>IV - elaborar manifestação técnica relativa aos temas de sua competência.</a:t>
          </a:r>
        </a:p>
      </dsp:txBody>
      <dsp:txXfrm>
        <a:off x="0" y="3398197"/>
        <a:ext cx="11326333" cy="1668420"/>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8.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F5835FC-E719-4B95-BD4E-8CA2A0FB619F}" type="datetimeFigureOut">
              <a:rPr lang="pt-BR" smtClean="0"/>
              <a:t>21/11/2019</a:t>
            </a:fld>
            <a:endParaRPr lang="pt-BR"/>
          </a:p>
        </p:txBody>
      </p:sp>
      <p:sp>
        <p:nvSpPr>
          <p:cNvPr id="4" name="Espaço Reservado para Imagem de Sli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9ABBD5-EBAC-48E7-ABCE-046FE470A666}" type="slidenum">
              <a:rPr lang="pt-BR" smtClean="0"/>
              <a:t>‹nº›</a:t>
            </a:fld>
            <a:endParaRPr lang="pt-BR"/>
          </a:p>
        </p:txBody>
      </p:sp>
    </p:spTree>
    <p:extLst>
      <p:ext uri="{BB962C8B-B14F-4D97-AF65-F5344CB8AC3E}">
        <p14:creationId xmlns:p14="http://schemas.microsoft.com/office/powerpoint/2010/main" val="4248421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a:t>
            </a:fld>
            <a:endParaRPr lang="pt-BR"/>
          </a:p>
        </p:txBody>
      </p:sp>
    </p:spTree>
    <p:extLst>
      <p:ext uri="{BB962C8B-B14F-4D97-AF65-F5344CB8AC3E}">
        <p14:creationId xmlns:p14="http://schemas.microsoft.com/office/powerpoint/2010/main" val="3357702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4</a:t>
            </a:fld>
            <a:endParaRPr lang="pt-BR"/>
          </a:p>
        </p:txBody>
      </p:sp>
    </p:spTree>
    <p:extLst>
      <p:ext uri="{BB962C8B-B14F-4D97-AF65-F5344CB8AC3E}">
        <p14:creationId xmlns:p14="http://schemas.microsoft.com/office/powerpoint/2010/main" val="1315395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200" b="0" kern="1200" dirty="0">
                <a:solidFill>
                  <a:schemeClr val="tx1"/>
                </a:solidFill>
                <a:effectLst/>
                <a:latin typeface="+mn-lt"/>
                <a:ea typeface="+mn-ea"/>
                <a:cs typeface="+mn-cs"/>
              </a:rPr>
              <a:t>O primeiro Guia visa propiciar segurança e estabilidade na interpretação do Decreto nº 9.203/ 2017 (que dispõe sobre a política de governança da administração pública federal direta, autárquica e fundacional) bem como fornecer diretrizes para execução da política de governança; os de análise </a:t>
            </a:r>
            <a:r>
              <a:rPr lang="pt-BR" sz="1200" b="0" i="1" kern="1200" dirty="0" err="1">
                <a:solidFill>
                  <a:schemeClr val="tx1"/>
                </a:solidFill>
                <a:effectLst/>
                <a:latin typeface="+mn-lt"/>
                <a:ea typeface="+mn-ea"/>
                <a:cs typeface="+mn-cs"/>
              </a:rPr>
              <a:t>ex-ante</a:t>
            </a:r>
            <a:r>
              <a:rPr lang="pt-BR" sz="1200" b="0" kern="1200" dirty="0">
                <a:solidFill>
                  <a:schemeClr val="tx1"/>
                </a:solidFill>
                <a:effectLst/>
                <a:latin typeface="+mn-lt"/>
                <a:ea typeface="+mn-ea"/>
                <a:cs typeface="+mn-cs"/>
              </a:rPr>
              <a:t> e </a:t>
            </a:r>
            <a:r>
              <a:rPr lang="pt-BR" sz="1200" b="0" i="1" kern="1200" dirty="0" err="1">
                <a:solidFill>
                  <a:schemeClr val="tx1"/>
                </a:solidFill>
                <a:effectLst/>
                <a:latin typeface="+mn-lt"/>
                <a:ea typeface="+mn-ea"/>
                <a:cs typeface="+mn-cs"/>
              </a:rPr>
              <a:t>ex-post</a:t>
            </a:r>
            <a:r>
              <a:rPr lang="pt-BR" sz="1200" b="0" kern="1200" dirty="0">
                <a:solidFill>
                  <a:schemeClr val="tx1"/>
                </a:solidFill>
                <a:effectLst/>
                <a:latin typeface="+mn-lt"/>
                <a:ea typeface="+mn-ea"/>
                <a:cs typeface="+mn-cs"/>
              </a:rPr>
              <a:t> visam melhor direcionamento de ações e avaliação de políticas públicas; e o último possui a finalidade de orientar a elaboração e a aplicação da Análise de Impacto Regulatório no Governo Federal.</a:t>
            </a:r>
          </a:p>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5</a:t>
            </a:fld>
            <a:endParaRPr lang="en-US"/>
          </a:p>
        </p:txBody>
      </p:sp>
    </p:spTree>
    <p:extLst>
      <p:ext uri="{BB962C8B-B14F-4D97-AF65-F5344CB8AC3E}">
        <p14:creationId xmlns:p14="http://schemas.microsoft.com/office/powerpoint/2010/main" val="96602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a:p>
        </p:txBody>
      </p:sp>
    </p:spTree>
    <p:extLst>
      <p:ext uri="{BB962C8B-B14F-4D97-AF65-F5344CB8AC3E}">
        <p14:creationId xmlns:p14="http://schemas.microsoft.com/office/powerpoint/2010/main" val="2025392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7</a:t>
            </a:fld>
            <a:endParaRPr lang="en-US"/>
          </a:p>
        </p:txBody>
      </p:sp>
    </p:spTree>
    <p:extLst>
      <p:ext uri="{BB962C8B-B14F-4D97-AF65-F5344CB8AC3E}">
        <p14:creationId xmlns:p14="http://schemas.microsoft.com/office/powerpoint/2010/main" val="3403948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8</a:t>
            </a:fld>
            <a:endParaRPr lang="en-US"/>
          </a:p>
        </p:txBody>
      </p:sp>
    </p:spTree>
    <p:extLst>
      <p:ext uri="{BB962C8B-B14F-4D97-AF65-F5344CB8AC3E}">
        <p14:creationId xmlns:p14="http://schemas.microsoft.com/office/powerpoint/2010/main" val="6512223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9</a:t>
            </a:fld>
            <a:endParaRPr lang="pt-BR"/>
          </a:p>
        </p:txBody>
      </p:sp>
    </p:spTree>
    <p:extLst>
      <p:ext uri="{BB962C8B-B14F-4D97-AF65-F5344CB8AC3E}">
        <p14:creationId xmlns:p14="http://schemas.microsoft.com/office/powerpoint/2010/main" val="22584033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D80A488-9652-4D39-970C-B341C3B2A9CB}" type="slidenum">
              <a:rPr lang="en-US" smtClean="0"/>
              <a:pPr/>
              <a:t>20</a:t>
            </a:fld>
            <a:endParaRPr lang="en-US" dirty="0"/>
          </a:p>
        </p:txBody>
      </p:sp>
    </p:spTree>
    <p:extLst>
      <p:ext uri="{BB962C8B-B14F-4D97-AF65-F5344CB8AC3E}">
        <p14:creationId xmlns:p14="http://schemas.microsoft.com/office/powerpoint/2010/main" val="2717184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1</a:t>
            </a:fld>
            <a:endParaRPr lang="pt-BR"/>
          </a:p>
        </p:txBody>
      </p:sp>
    </p:spTree>
    <p:extLst>
      <p:ext uri="{BB962C8B-B14F-4D97-AF65-F5344CB8AC3E}">
        <p14:creationId xmlns:p14="http://schemas.microsoft.com/office/powerpoint/2010/main" val="3368699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lvl="0"/>
            <a:r>
              <a:rPr lang="pt-BR" sz="1200" kern="1200" dirty="0">
                <a:solidFill>
                  <a:schemeClr val="tx1"/>
                </a:solidFill>
                <a:effectLst/>
                <a:latin typeface="+mn-lt"/>
                <a:ea typeface="+mn-ea"/>
                <a:cs typeface="+mn-cs"/>
              </a:rPr>
              <a:t>AIR, em muitos casos, torna-se um exercício meramente proforma (“</a:t>
            </a:r>
            <a:r>
              <a:rPr lang="pt-BR" sz="1200" i="1" kern="1200" dirty="0" err="1">
                <a:solidFill>
                  <a:schemeClr val="tx1"/>
                </a:solidFill>
                <a:effectLst/>
                <a:latin typeface="+mn-lt"/>
                <a:ea typeface="+mn-ea"/>
                <a:cs typeface="+mn-cs"/>
              </a:rPr>
              <a:t>boxticking</a:t>
            </a:r>
            <a:r>
              <a:rPr lang="pt-BR" sz="1200" kern="1200" dirty="0">
                <a:solidFill>
                  <a:schemeClr val="tx1"/>
                </a:solidFill>
                <a:effectLst/>
                <a:latin typeface="+mn-lt"/>
                <a:ea typeface="+mn-ea"/>
                <a:cs typeface="+mn-cs"/>
              </a:rPr>
              <a:t>”, no termo em inglês), priorizando a adequação formal a modelos estáticos e não a qualidade do conteúdo; </a:t>
            </a:r>
          </a:p>
          <a:p>
            <a:pPr lvl="0"/>
            <a:r>
              <a:rPr lang="pt-BR" sz="1200" kern="1200" dirty="0">
                <a:solidFill>
                  <a:schemeClr val="tx1"/>
                </a:solidFill>
                <a:effectLst/>
                <a:latin typeface="+mn-lt"/>
                <a:ea typeface="+mn-ea"/>
                <a:cs typeface="+mn-cs"/>
              </a:rPr>
              <a:t>A AIR pode ossificar demasiadamente o processo regulatório, tornando-o mais lento e de mais difícil adaptação a mudanças necessárias, sejam internas, sejam externas às agências; </a:t>
            </a:r>
          </a:p>
          <a:p>
            <a:pPr lvl="0"/>
            <a:r>
              <a:rPr lang="pt-BR" sz="1200" kern="1200" dirty="0">
                <a:solidFill>
                  <a:schemeClr val="tx1"/>
                </a:solidFill>
                <a:effectLst/>
                <a:latin typeface="+mn-lt"/>
                <a:ea typeface="+mn-ea"/>
                <a:cs typeface="+mn-cs"/>
              </a:rPr>
              <a:t>AIR tenderá a validar decisões já tomadas (seria uma “conta de chegada”), legitimando uma sistemática de intervenção preferível e previamente escolhida; </a:t>
            </a:r>
          </a:p>
          <a:p>
            <a:pPr lvl="0"/>
            <a:r>
              <a:rPr lang="pt-BR" sz="1200" kern="1200" dirty="0">
                <a:solidFill>
                  <a:schemeClr val="tx1"/>
                </a:solidFill>
                <a:effectLst/>
                <a:latin typeface="+mn-lt"/>
                <a:ea typeface="+mn-ea"/>
                <a:cs typeface="+mn-cs"/>
              </a:rPr>
              <a:t>A AIR, apesar de sugerir imparcialidade, não é neutra, pois é conduzida antevendo pontos de tensão políticos, técnicos e de outras ordens; </a:t>
            </a:r>
          </a:p>
          <a:p>
            <a:pPr lvl="0"/>
            <a:r>
              <a:rPr lang="pt-BR" sz="1200" kern="1200" dirty="0">
                <a:solidFill>
                  <a:schemeClr val="tx1"/>
                </a:solidFill>
                <a:effectLst/>
                <a:latin typeface="+mn-lt"/>
                <a:ea typeface="+mn-ea"/>
                <a:cs typeface="+mn-cs"/>
              </a:rPr>
              <a:t>No plano organizacional das agências, a elaboração da AIR coloca exigência adicional sobre a burocracia, a qual, se não estiver previamente capacitada para responder à obrigatoriedade de adoção da AIR, pode frustrar sua implementação;</a:t>
            </a:r>
          </a:p>
          <a:p>
            <a:pPr lvl="0"/>
            <a:r>
              <a:rPr lang="pt-BR" sz="1200" kern="1200" dirty="0">
                <a:solidFill>
                  <a:schemeClr val="tx1"/>
                </a:solidFill>
                <a:effectLst/>
                <a:latin typeface="+mn-lt"/>
                <a:ea typeface="+mn-ea"/>
                <a:cs typeface="+mn-cs"/>
              </a:rPr>
              <a:t>A AIR eleva as barreiras de entrada no processo regulatório, em virtude do grau de sofisticação e exigência técnica que exige, incidindo sobre o lado da demanda da AIR – ou seja, quem a consumirá, externamente às agências (CUNHA, 2018, p. 7-8).</a:t>
            </a:r>
          </a:p>
          <a:p>
            <a:endParaRPr lang="pt-BR" dirty="0"/>
          </a:p>
        </p:txBody>
      </p:sp>
      <p:sp>
        <p:nvSpPr>
          <p:cNvPr id="4" name="Espaço Reservado para Número de Slide 3"/>
          <p:cNvSpPr>
            <a:spLocks noGrp="1"/>
          </p:cNvSpPr>
          <p:nvPr>
            <p:ph type="sldNum" sz="quarter" idx="5"/>
          </p:nvPr>
        </p:nvSpPr>
        <p:spPr/>
        <p:txBody>
          <a:bodyPr/>
          <a:lstStyle/>
          <a:p>
            <a:fld id="{1854D490-7854-3F4D-B55D-B2D203D2B27F}" type="slidenum">
              <a:rPr lang="pt-BR" smtClean="0"/>
              <a:t>23</a:t>
            </a:fld>
            <a:endParaRPr lang="pt-BR"/>
          </a:p>
        </p:txBody>
      </p:sp>
    </p:spTree>
    <p:extLst>
      <p:ext uri="{BB962C8B-B14F-4D97-AF65-F5344CB8AC3E}">
        <p14:creationId xmlns:p14="http://schemas.microsoft.com/office/powerpoint/2010/main" val="1691094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5</a:t>
            </a:fld>
            <a:endParaRPr lang="pt-BR"/>
          </a:p>
        </p:txBody>
      </p:sp>
    </p:spTree>
    <p:extLst>
      <p:ext uri="{BB962C8B-B14F-4D97-AF65-F5344CB8AC3E}">
        <p14:creationId xmlns:p14="http://schemas.microsoft.com/office/powerpoint/2010/main" val="3456918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a:t>
            </a:fld>
            <a:endParaRPr lang="pt-BR"/>
          </a:p>
        </p:txBody>
      </p:sp>
    </p:spTree>
    <p:extLst>
      <p:ext uri="{BB962C8B-B14F-4D97-AF65-F5344CB8AC3E}">
        <p14:creationId xmlns:p14="http://schemas.microsoft.com/office/powerpoint/2010/main" val="668274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6</a:t>
            </a:fld>
            <a:endParaRPr lang="pt-BR"/>
          </a:p>
        </p:txBody>
      </p:sp>
    </p:spTree>
    <p:extLst>
      <p:ext uri="{BB962C8B-B14F-4D97-AF65-F5344CB8AC3E}">
        <p14:creationId xmlns:p14="http://schemas.microsoft.com/office/powerpoint/2010/main" val="72242128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27</a:t>
            </a:fld>
            <a:endParaRPr lang="pt-BR"/>
          </a:p>
        </p:txBody>
      </p:sp>
    </p:spTree>
    <p:extLst>
      <p:ext uri="{BB962C8B-B14F-4D97-AF65-F5344CB8AC3E}">
        <p14:creationId xmlns:p14="http://schemas.microsoft.com/office/powerpoint/2010/main" val="1801297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3</a:t>
            </a:fld>
            <a:endParaRPr lang="pt-BR"/>
          </a:p>
        </p:txBody>
      </p:sp>
    </p:spTree>
    <p:extLst>
      <p:ext uri="{BB962C8B-B14F-4D97-AF65-F5344CB8AC3E}">
        <p14:creationId xmlns:p14="http://schemas.microsoft.com/office/powerpoint/2010/main" val="3396937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5</a:t>
            </a:fld>
            <a:endParaRPr lang="pt-BR"/>
          </a:p>
        </p:txBody>
      </p:sp>
    </p:spTree>
    <p:extLst>
      <p:ext uri="{BB962C8B-B14F-4D97-AF65-F5344CB8AC3E}">
        <p14:creationId xmlns:p14="http://schemas.microsoft.com/office/powerpoint/2010/main" val="1436971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6</a:t>
            </a:fld>
            <a:endParaRPr lang="pt-BR"/>
          </a:p>
        </p:txBody>
      </p:sp>
    </p:spTree>
    <p:extLst>
      <p:ext uri="{BB962C8B-B14F-4D97-AF65-F5344CB8AC3E}">
        <p14:creationId xmlns:p14="http://schemas.microsoft.com/office/powerpoint/2010/main" val="1711259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8</a:t>
            </a:fld>
            <a:endParaRPr lang="pt-BR"/>
          </a:p>
        </p:txBody>
      </p:sp>
    </p:spTree>
    <p:extLst>
      <p:ext uri="{BB962C8B-B14F-4D97-AF65-F5344CB8AC3E}">
        <p14:creationId xmlns:p14="http://schemas.microsoft.com/office/powerpoint/2010/main" val="967149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0</a:t>
            </a:fld>
            <a:endParaRPr lang="pt-BR"/>
          </a:p>
        </p:txBody>
      </p:sp>
    </p:spTree>
    <p:extLst>
      <p:ext uri="{BB962C8B-B14F-4D97-AF65-F5344CB8AC3E}">
        <p14:creationId xmlns:p14="http://schemas.microsoft.com/office/powerpoint/2010/main" val="2627146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1</a:t>
            </a:fld>
            <a:endParaRPr lang="pt-BR"/>
          </a:p>
        </p:txBody>
      </p:sp>
    </p:spTree>
    <p:extLst>
      <p:ext uri="{BB962C8B-B14F-4D97-AF65-F5344CB8AC3E}">
        <p14:creationId xmlns:p14="http://schemas.microsoft.com/office/powerpoint/2010/main" val="1040651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5"/>
          </p:nvPr>
        </p:nvSpPr>
        <p:spPr/>
        <p:txBody>
          <a:bodyPr/>
          <a:lstStyle/>
          <a:p>
            <a:fld id="{949ABBD5-EBAC-48E7-ABCE-046FE470A666}" type="slidenum">
              <a:rPr lang="pt-BR" smtClean="0"/>
              <a:t>12</a:t>
            </a:fld>
            <a:endParaRPr lang="pt-BR"/>
          </a:p>
        </p:txBody>
      </p:sp>
    </p:spTree>
    <p:extLst>
      <p:ext uri="{BB962C8B-B14F-4D97-AF65-F5344CB8AC3E}">
        <p14:creationId xmlns:p14="http://schemas.microsoft.com/office/powerpoint/2010/main" val="1858505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image" Target="../media/image6.tiff"/></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9.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9.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0.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1.pn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1.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0.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1.png"/><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4.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4.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4.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4.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4.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4.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oleObject" Target="../embeddings/oleObject26.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28.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4.emf"/><Relationship Id="rId5" Type="http://schemas.openxmlformats.org/officeDocument/2006/relationships/oleObject" Target="../embeddings/oleObject28.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slideMaster" Target="../slideMasters/slideMaster2.xml"/><Relationship Id="rId7" Type="http://schemas.openxmlformats.org/officeDocument/2006/relationships/image" Target="../media/image13.jpg"/><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4.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4.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4.emf"/><Relationship Id="rId5" Type="http://schemas.openxmlformats.org/officeDocument/2006/relationships/oleObject" Target="../embeddings/oleObject32.bin"/><Relationship Id="rId4"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34.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9.png"/><Relationship Id="rId2" Type="http://schemas.openxmlformats.org/officeDocument/2006/relationships/tags" Target="../tags/tag62.xml"/><Relationship Id="rId1" Type="http://schemas.openxmlformats.org/officeDocument/2006/relationships/vmlDrawing" Target="../drawings/vmlDrawing35.vml"/><Relationship Id="rId6" Type="http://schemas.openxmlformats.org/officeDocument/2006/relationships/image" Target="../media/image4.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9.png"/><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image" Target="../media/image4.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9.pn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4.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9.pn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4.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9.png"/><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4.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4.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0.png"/><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4.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4.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2.png"/><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4.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81.xml"/><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image" Target="../media/image4.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0.png"/><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85.xml"/><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image" Target="../media/image4.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0.png"/><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image" Target="../media/image4.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9.v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0.vml"/><Relationship Id="rId6" Type="http://schemas.openxmlformats.org/officeDocument/2006/relationships/image" Target="../media/image4.emf"/><Relationship Id="rId5" Type="http://schemas.openxmlformats.org/officeDocument/2006/relationships/oleObject" Target="../embeddings/oleObject49.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51.v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50.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4.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0.png"/><Relationship Id="rId2" Type="http://schemas.openxmlformats.org/officeDocument/2006/relationships/tags" Target="../tags/tag97.xml"/><Relationship Id="rId1" Type="http://schemas.openxmlformats.org/officeDocument/2006/relationships/vmlDrawing" Target="../drawings/vmlDrawing53.vml"/><Relationship Id="rId6" Type="http://schemas.openxmlformats.org/officeDocument/2006/relationships/image" Target="../media/image4.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4.vml"/><Relationship Id="rId6" Type="http://schemas.openxmlformats.org/officeDocument/2006/relationships/image" Target="../media/image4.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6.vml"/><Relationship Id="rId6" Type="http://schemas.openxmlformats.org/officeDocument/2006/relationships/image" Target="../media/image4.emf"/><Relationship Id="rId5" Type="http://schemas.openxmlformats.org/officeDocument/2006/relationships/oleObject" Target="../embeddings/oleObject55.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57.vml"/><Relationship Id="rId5" Type="http://schemas.openxmlformats.org/officeDocument/2006/relationships/image" Target="../media/image4.emf"/><Relationship Id="rId4" Type="http://schemas.openxmlformats.org/officeDocument/2006/relationships/oleObject" Target="../embeddings/oleObject56.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8.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8" Type="http://schemas.openxmlformats.org/officeDocument/2006/relationships/oleObject" Target="../embeddings/oleObject58.bin"/><Relationship Id="rId3" Type="http://schemas.openxmlformats.org/officeDocument/2006/relationships/tags" Target="../tags/tag109.xml"/><Relationship Id="rId7"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59.vml"/><Relationship Id="rId6" Type="http://schemas.openxmlformats.org/officeDocument/2006/relationships/tags" Target="../tags/tag112.xml"/><Relationship Id="rId5" Type="http://schemas.openxmlformats.org/officeDocument/2006/relationships/tags" Target="../tags/tag111.xml"/><Relationship Id="rId4" Type="http://schemas.openxmlformats.org/officeDocument/2006/relationships/tags" Target="../tags/tag110.xml"/><Relationship Id="rId9" Type="http://schemas.openxmlformats.org/officeDocument/2006/relationships/image" Target="../media/image5.emf"/></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4.xml"/><Relationship Id="rId7" Type="http://schemas.openxmlformats.org/officeDocument/2006/relationships/oleObject" Target="../embeddings/oleObject59.bin"/><Relationship Id="rId2" Type="http://schemas.openxmlformats.org/officeDocument/2006/relationships/tags" Target="../tags/tag113.xml"/><Relationship Id="rId1" Type="http://schemas.openxmlformats.org/officeDocument/2006/relationships/vmlDrawing" Target="../drawings/vmlDrawing60.vml"/><Relationship Id="rId6" Type="http://schemas.openxmlformats.org/officeDocument/2006/relationships/slideMaster" Target="../slideMasters/slideMaster2.xml"/><Relationship Id="rId5" Type="http://schemas.openxmlformats.org/officeDocument/2006/relationships/tags" Target="../tags/tag116.xml"/><Relationship Id="rId4" Type="http://schemas.openxmlformats.org/officeDocument/2006/relationships/tags" Target="../tags/tag115.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18.xml"/><Relationship Id="rId7" Type="http://schemas.openxmlformats.org/officeDocument/2006/relationships/oleObject" Target="../embeddings/oleObject60.bin"/><Relationship Id="rId2" Type="http://schemas.openxmlformats.org/officeDocument/2006/relationships/tags" Target="../tags/tag117.xml"/><Relationship Id="rId1" Type="http://schemas.openxmlformats.org/officeDocument/2006/relationships/vmlDrawing" Target="../drawings/vmlDrawing61.vml"/><Relationship Id="rId6" Type="http://schemas.openxmlformats.org/officeDocument/2006/relationships/slideMaster" Target="../slideMasters/slideMaster2.xml"/><Relationship Id="rId5" Type="http://schemas.openxmlformats.org/officeDocument/2006/relationships/tags" Target="../tags/tag120.xml"/><Relationship Id="rId4" Type="http://schemas.openxmlformats.org/officeDocument/2006/relationships/tags" Target="../tags/tag119.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9.png"/><Relationship Id="rId2" Type="http://schemas.openxmlformats.org/officeDocument/2006/relationships/tags" Target="../tags/tag121.xml"/><Relationship Id="rId1" Type="http://schemas.openxmlformats.org/officeDocument/2006/relationships/vmlDrawing" Target="../drawings/vmlDrawing62.vml"/><Relationship Id="rId6" Type="http://schemas.openxmlformats.org/officeDocument/2006/relationships/image" Target="../media/image5.emf"/><Relationship Id="rId5" Type="http://schemas.openxmlformats.org/officeDocument/2006/relationships/oleObject" Target="../embeddings/oleObject61.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124.xml"/><Relationship Id="rId7"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vmlDrawing" Target="../drawings/vmlDrawing63.vml"/><Relationship Id="rId6" Type="http://schemas.openxmlformats.org/officeDocument/2006/relationships/tags" Target="../tags/tag127.xml"/><Relationship Id="rId5" Type="http://schemas.openxmlformats.org/officeDocument/2006/relationships/tags" Target="../tags/tag126.xml"/><Relationship Id="rId4" Type="http://schemas.openxmlformats.org/officeDocument/2006/relationships/tags" Target="../tags/tag125.xml"/><Relationship Id="rId9"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29.xml"/><Relationship Id="rId7" Type="http://schemas.openxmlformats.org/officeDocument/2006/relationships/oleObject" Target="../embeddings/oleObject63.bin"/><Relationship Id="rId2" Type="http://schemas.openxmlformats.org/officeDocument/2006/relationships/tags" Target="../tags/tag128.xml"/><Relationship Id="rId1" Type="http://schemas.openxmlformats.org/officeDocument/2006/relationships/vmlDrawing" Target="../drawings/vmlDrawing64.vml"/><Relationship Id="rId6" Type="http://schemas.openxmlformats.org/officeDocument/2006/relationships/slideMaster" Target="../slideMasters/slideMaster2.xml"/><Relationship Id="rId5" Type="http://schemas.openxmlformats.org/officeDocument/2006/relationships/tags" Target="../tags/tag131.xml"/><Relationship Id="rId4" Type="http://schemas.openxmlformats.org/officeDocument/2006/relationships/tags" Target="../tags/tag130.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3.xml"/><Relationship Id="rId7" Type="http://schemas.openxmlformats.org/officeDocument/2006/relationships/oleObject" Target="../embeddings/oleObject64.bin"/><Relationship Id="rId2" Type="http://schemas.openxmlformats.org/officeDocument/2006/relationships/tags" Target="../tags/tag132.xml"/><Relationship Id="rId1" Type="http://schemas.openxmlformats.org/officeDocument/2006/relationships/vmlDrawing" Target="../drawings/vmlDrawing65.vml"/><Relationship Id="rId6" Type="http://schemas.openxmlformats.org/officeDocument/2006/relationships/slideMaster" Target="../slideMasters/slideMaster2.xml"/><Relationship Id="rId5" Type="http://schemas.openxmlformats.org/officeDocument/2006/relationships/tags" Target="../tags/tag135.xml"/><Relationship Id="rId4" Type="http://schemas.openxmlformats.org/officeDocument/2006/relationships/tags" Target="../tags/tag134.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9.png"/><Relationship Id="rId2" Type="http://schemas.openxmlformats.org/officeDocument/2006/relationships/tags" Target="../tags/tag136.xml"/><Relationship Id="rId1" Type="http://schemas.openxmlformats.org/officeDocument/2006/relationships/vmlDrawing" Target="../drawings/vmlDrawing66.vml"/><Relationship Id="rId6" Type="http://schemas.openxmlformats.org/officeDocument/2006/relationships/image" Target="../media/image5.emf"/><Relationship Id="rId5" Type="http://schemas.openxmlformats.org/officeDocument/2006/relationships/oleObject" Target="../embeddings/oleObject65.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10.png"/><Relationship Id="rId2" Type="http://schemas.openxmlformats.org/officeDocument/2006/relationships/tags" Target="../tags/tag138.xml"/><Relationship Id="rId1" Type="http://schemas.openxmlformats.org/officeDocument/2006/relationships/vmlDrawing" Target="../drawings/vmlDrawing67.vml"/><Relationship Id="rId6" Type="http://schemas.openxmlformats.org/officeDocument/2006/relationships/image" Target="../media/image5.emf"/><Relationship Id="rId5" Type="http://schemas.openxmlformats.org/officeDocument/2006/relationships/oleObject" Target="../embeddings/oleObject66.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21.11.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2689685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Vertical Text Placeholder 2"/>
          <p:cNvSpPr>
            <a:spLocks noGrp="1"/>
          </p:cNvSpPr>
          <p:nvPr>
            <p:ph type="body" orient="vert" idx="1"/>
          </p:nvPr>
        </p:nvSpPr>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21.11.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11673385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pt-BR"/>
              <a:t>Clique para editar o título mestr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21.11.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4712926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lide de Título">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D5BA5BE9-DF57-4FB3-8CAC-A2C4B0E3244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79"/>
            <a:ext cx="12192000" cy="6855842"/>
          </a:xfrm>
          <a:prstGeom prst="rect">
            <a:avLst/>
          </a:prstGeom>
        </p:spPr>
      </p:pic>
    </p:spTree>
    <p:extLst>
      <p:ext uri="{BB962C8B-B14F-4D97-AF65-F5344CB8AC3E}">
        <p14:creationId xmlns:p14="http://schemas.microsoft.com/office/powerpoint/2010/main" val="35345655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ítulo y objetos">
    <p:spTree>
      <p:nvGrpSpPr>
        <p:cNvPr id="1" name=""/>
        <p:cNvGrpSpPr/>
        <p:nvPr/>
      </p:nvGrpSpPr>
      <p:grpSpPr>
        <a:xfrm>
          <a:off x="0" y="0"/>
          <a:ext cx="0" cy="0"/>
          <a:chOff x="0" y="0"/>
          <a:chExt cx="0" cy="0"/>
        </a:xfrm>
      </p:grpSpPr>
      <p:pic>
        <p:nvPicPr>
          <p:cNvPr id="2" name="1 Imagen">
            <a:extLst>
              <a:ext uri="{FF2B5EF4-FFF2-40B4-BE49-F238E27FC236}">
                <a16:creationId xmlns:a16="http://schemas.microsoft.com/office/drawing/2014/main" id="{73836E4B-15EE-4B70-930D-FDB0D139984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 y="-15875"/>
            <a:ext cx="12335935" cy="687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332028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hasCustomPrompt="1"/>
          </p:nvPr>
        </p:nvSpPr>
        <p:spPr>
          <a:xfrm>
            <a:off x="775384" y="622800"/>
            <a:ext cx="10642708" cy="388800"/>
          </a:xfr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6724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25089" name="Picture 161" descr="H:\SAG_Assessoria Especial\Econômico\11- Avaliação de Políticas\Guias\Análise ex ante\Publicidade\Capa_fundo.tif"/>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68923" y="0"/>
            <a:ext cx="11254154"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17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21" name="PanelGreen"/>
          <p:cNvSpPr>
            <a:spLocks noChangeAspect="1"/>
          </p:cNvSpPr>
          <p:nvPr userDrawn="1"/>
        </p:nvSpPr>
        <p:spPr bwMode="black">
          <a:xfrm>
            <a:off x="775384" y="3535052"/>
            <a:ext cx="7910583" cy="2743499"/>
          </a:xfrm>
          <a:prstGeom prst="rect">
            <a:avLst/>
          </a:prstGeom>
          <a:gradFill flip="none" rotWithShape="1">
            <a:gsLst>
              <a:gs pos="0">
                <a:srgbClr val="081F40">
                  <a:alpha val="89804"/>
                </a:srgbClr>
              </a:gs>
              <a:gs pos="100000">
                <a:srgbClr val="B7D1F7">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Trebuchet MS" panose="020B0603020202020204" pitchFamily="34" charset="0"/>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089969" y="6207842"/>
            <a:ext cx="6685782" cy="327148"/>
          </a:xfrm>
          <a:prstGeom prst="rect">
            <a:avLst/>
          </a:prstGeom>
          <a:noFill/>
        </p:spPr>
        <p:txBody>
          <a:bodyPr anchor="ctr"/>
          <a:lstStyle>
            <a:lvl1pPr algn="l">
              <a:lnSpc>
                <a:spcPct val="110000"/>
              </a:lnSpc>
              <a:buNone/>
              <a:defRPr sz="1000" b="1" cap="all" baseline="0">
                <a:solidFill>
                  <a:schemeClr val="accent5"/>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089969" y="5495708"/>
            <a:ext cx="6685782" cy="436195"/>
          </a:xfrm>
          <a:prstGeom prst="rect">
            <a:avLst/>
          </a:prstGeom>
        </p:spPr>
        <p:txBody>
          <a:bodyPr anchor="ctr"/>
          <a:lstStyle>
            <a:lvl1pPr marL="0" indent="0" algn="l">
              <a:lnSpc>
                <a:spcPct val="110000"/>
              </a:lnSpc>
              <a:buNone/>
              <a:defRPr sz="14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089969" y="1886244"/>
            <a:ext cx="6685782" cy="3138423"/>
          </a:xfrm>
          <a:prstGeom prst="rect">
            <a:avLst/>
          </a:prstGeom>
        </p:spPr>
        <p:txBody>
          <a:bodyPr anchor="b">
            <a:normAutofit/>
          </a:bodyPr>
          <a:lstStyle>
            <a:lvl1pPr algn="l">
              <a:lnSpc>
                <a:spcPct val="93000"/>
              </a:lnSpc>
              <a:defRPr sz="4400" baseline="0">
                <a:solidFill>
                  <a:schemeClr val="bg1"/>
                </a:solidFill>
                <a:latin typeface="Trebuchet MS" panose="020B0603020202020204" pitchFamily="34" charset="0"/>
                <a:sym typeface="Trebuchet MS" panose="020B0603020202020204" pitchFamily="34" charset="0"/>
              </a:defRPr>
            </a:lvl1pPr>
          </a:lstStyle>
          <a:p>
            <a:r>
              <a:rPr lang="en-US" dirty="0"/>
              <a:t>Title in Title Case</a:t>
            </a:r>
          </a:p>
        </p:txBody>
      </p:sp>
      <p:pic>
        <p:nvPicPr>
          <p:cNvPr id="10" name="Picture 26" descr="Resultado de imagem para logo governo federal"/>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166151" y="5402273"/>
            <a:ext cx="2401263" cy="776863"/>
          </a:xfrm>
          <a:prstGeom prst="rect">
            <a:avLst/>
          </a:prstGeom>
          <a:noFill/>
          <a:extLst>
            <a:ext uri="{909E8E84-426E-40DD-AFC4-6F175D3DCCD1}">
              <a14:hiddenFill xmlns:a14="http://schemas.microsoft.com/office/drawing/2010/main">
                <a:solidFill>
                  <a:srgbClr val="FFFFFF"/>
                </a:solidFill>
              </a14:hiddenFill>
            </a:ext>
          </a:extLst>
        </p:spPr>
      </p:pic>
      <p:pic>
        <p:nvPicPr>
          <p:cNvPr id="5" name="Imagem 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776645" y="3544479"/>
            <a:ext cx="1887818" cy="678730"/>
          </a:xfrm>
          <a:prstGeom prst="rect">
            <a:avLst/>
          </a:prstGeom>
        </p:spPr>
      </p:pic>
    </p:spTree>
    <p:extLst>
      <p:ext uri="{BB962C8B-B14F-4D97-AF65-F5344CB8AC3E}">
        <p14:creationId xmlns:p14="http://schemas.microsoft.com/office/powerpoint/2010/main" val="1325587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2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5" name="Title 4"/>
          <p:cNvSpPr>
            <a:spLocks noGrp="1"/>
          </p:cNvSpPr>
          <p:nvPr>
            <p:ph type="title" hasCustomPrompt="1"/>
          </p:nvPr>
        </p:nvSpPr>
        <p:spPr>
          <a:xfrm>
            <a:off x="775384" y="622800"/>
            <a:ext cx="10642708" cy="388800"/>
          </a:xfr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891170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92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8" name="PanelGray"/>
          <p:cNvSpPr/>
          <p:nvPr userDrawn="1"/>
        </p:nvSpPr>
        <p:spPr bwMode="ltGray">
          <a:xfrm>
            <a:off x="1" y="1"/>
            <a:ext cx="473682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738831" y="6405036"/>
            <a:ext cx="127163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9" name="Title 1"/>
          <p:cNvSpPr>
            <a:spLocks noGrp="1"/>
          </p:cNvSpPr>
          <p:nvPr>
            <p:ph type="title" hasCustomPrompt="1"/>
          </p:nvPr>
        </p:nvSpPr>
        <p:spPr bwMode="ltGray">
          <a:xfrm>
            <a:off x="775384" y="1544274"/>
            <a:ext cx="3359506" cy="1495794"/>
          </a:xfrm>
          <a:noFill/>
        </p:spPr>
        <p:txBody>
          <a:bodyPr wrap="square" lIns="0" tIns="0" rIns="320040" bIns="0" anchor="b">
            <a:no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06036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25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3" name="Date Placeholder 2"/>
          <p:cNvSpPr>
            <a:spLocks noGrp="1"/>
          </p:cNvSpPr>
          <p:nvPr userDrawn="1">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userDrawn="1">
            <p:ph type="title" hasCustomPrompt="1"/>
          </p:nvPr>
        </p:nvSpPr>
        <p:spPr bwMode="blackWhite">
          <a:xfrm>
            <a:off x="1089969" y="2668041"/>
            <a:ext cx="10012800"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56" name="Square"/>
          <p:cNvSpPr>
            <a:spLocks noChangeAspect="1"/>
          </p:cNvSpPr>
          <p:nvPr userDrawn="1"/>
        </p:nvSpPr>
        <p:spPr bwMode="white">
          <a:xfrm>
            <a:off x="1089970" y="1457803"/>
            <a:ext cx="1128806" cy="918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613411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12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775384" y="3826800"/>
            <a:ext cx="10642708" cy="2041200"/>
          </a:xfrm>
        </p:spPr>
        <p:txBody>
          <a:bodyPr anchor="t">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section title</a:t>
            </a:r>
          </a:p>
        </p:txBody>
      </p:sp>
      <p:cxnSp>
        <p:nvCxnSpPr>
          <p:cNvPr id="148" name="Line"/>
          <p:cNvCxnSpPr/>
          <p:nvPr userDrawn="1"/>
        </p:nvCxnSpPr>
        <p:spPr bwMode="white">
          <a:xfrm>
            <a:off x="775385" y="3680016"/>
            <a:ext cx="1141661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6122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idx="1"/>
          </p:nvPr>
        </p:nvSpPr>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10"/>
          </p:nvPr>
        </p:nvSpPr>
        <p:spPr/>
        <p:txBody>
          <a:bodyPr/>
          <a:lstStyle/>
          <a:p>
            <a:fld id="{F0E51C7C-CEA3-4CAA-BE4B-344879E7C377}" type="datetimeFigureOut">
              <a:rPr lang="de-DE" smtClean="0"/>
              <a:t>21.11.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9444170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2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6"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118216" y="0"/>
            <a:ext cx="513969" cy="6858000"/>
          </a:xfrm>
          <a:prstGeom prst="rect">
            <a:avLst/>
          </a:prstGeom>
        </p:spPr>
      </p:pic>
      <p:sp>
        <p:nvSpPr>
          <p:cNvPr id="26" name="PanelGray"/>
          <p:cNvSpPr/>
          <p:nvPr userDrawn="1"/>
        </p:nvSpPr>
        <p:spPr bwMode="white">
          <a:xfrm>
            <a:off x="1" y="0"/>
            <a:ext cx="413273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7" name="Date Placeholder 1"/>
          <p:cNvSpPr>
            <a:spLocks noGrp="1"/>
          </p:cNvSpPr>
          <p:nvPr userDrawn="1">
            <p:ph type="dt" sz="half" idx="3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7" name="Title 4"/>
          <p:cNvSpPr>
            <a:spLocks noGrp="1"/>
          </p:cNvSpPr>
          <p:nvPr userDrawn="1">
            <p:ph type="title" hasCustomPrompt="1"/>
          </p:nvPr>
        </p:nvSpPr>
        <p:spPr>
          <a:xfrm>
            <a:off x="775385" y="2681103"/>
            <a:ext cx="3045077" cy="1495794"/>
          </a:xfrm>
          <a:prstGeom prst="rect">
            <a:avLst/>
          </a:prstGeom>
        </p:spPr>
        <p:txBody>
          <a:bodyPr anchor="ctr">
            <a:no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15969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332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0"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13" name="PanelGray"/>
          <p:cNvSpPr/>
          <p:nvPr userDrawn="1"/>
        </p:nvSpPr>
        <p:spPr bwMode="white">
          <a:xfrm>
            <a:off x="1" y="0"/>
            <a:ext cx="715289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7"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20"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3" name="Title 3"/>
          <p:cNvSpPr>
            <a:spLocks noGrp="1"/>
          </p:cNvSpPr>
          <p:nvPr>
            <p:ph type="title" hasCustomPrompt="1"/>
          </p:nvPr>
        </p:nvSpPr>
        <p:spPr>
          <a:xfrm>
            <a:off x="775385" y="622800"/>
            <a:ext cx="6090153" cy="388800"/>
          </a:xfrm>
          <a:prstGeom prst="rect">
            <a:avLst/>
          </a:prstGeo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58378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43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991164" y="0"/>
            <a:ext cx="143861" cy="6858000"/>
          </a:xfrm>
          <a:prstGeom prst="rect">
            <a:avLst/>
          </a:prstGeom>
        </p:spPr>
      </p:pic>
      <p:sp>
        <p:nvSpPr>
          <p:cNvPr id="66" name="PanelGray"/>
          <p:cNvSpPr/>
          <p:nvPr userDrawn="1"/>
        </p:nvSpPr>
        <p:spPr bwMode="white">
          <a:xfrm>
            <a:off x="3991163" y="-1309"/>
            <a:ext cx="8200838"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Title 4"/>
          <p:cNvSpPr>
            <a:spLocks noGrp="1"/>
          </p:cNvSpPr>
          <p:nvPr>
            <p:ph type="title" hasCustomPrompt="1"/>
          </p:nvPr>
        </p:nvSpPr>
        <p:spPr>
          <a:xfrm>
            <a:off x="357696" y="2681103"/>
            <a:ext cx="3043938" cy="1495794"/>
          </a:xfrm>
          <a:prstGeom prst="rect">
            <a:avLst/>
          </a:prstGeom>
        </p:spPr>
        <p:txBody>
          <a:bodyPr anchor="ctr">
            <a:noAutofit/>
          </a:bodyPr>
          <a:lstStyle>
            <a:lvl1pPr>
              <a:defRPr sz="28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951133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537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12" name="PanelGray"/>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Picture Placeholder 18"/>
          <p:cNvSpPr>
            <a:spLocks noGrp="1"/>
          </p:cNvSpPr>
          <p:nvPr>
            <p:ph type="pic" sz="quarter" idx="14" hasCustomPrompt="1"/>
          </p:nvPr>
        </p:nvSpPr>
        <p:spPr>
          <a:xfrm>
            <a:off x="6095262" y="0"/>
            <a:ext cx="6096738"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extBox 14"/>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2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
          <a:xfrm>
            <a:off x="775384" y="1785600"/>
            <a:ext cx="4269724" cy="3286800"/>
          </a:xfrm>
          <a:prstGeom prst="rect">
            <a:avLst/>
          </a:prstGeom>
          <a:noFill/>
        </p:spPr>
        <p:txBody>
          <a:bodyPr wrap="square" lIns="0" tIns="0" rIns="320040" bIns="0"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7"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770451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63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6" name="PanelGray"/>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1"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2" name="Date Placeholder 2"/>
          <p:cNvSpPr>
            <a:spLocks noGrp="1"/>
          </p:cNvSpPr>
          <p:nvPr userDrawn="1">
            <p:ph type="dt" sz="half" idx="12"/>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5" name="Copyright" hidden="1"/>
          <p:cNvSpPr txBox="1"/>
          <p:nvPr userDrawn="1"/>
        </p:nvSpPr>
        <p:spPr>
          <a:xfrm rot="16200000">
            <a:off x="9453106"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4" name="Title 1"/>
          <p:cNvSpPr>
            <a:spLocks noGrp="1"/>
          </p:cNvSpPr>
          <p:nvPr userDrawn="1">
            <p:ph type="title" hasCustomPrompt="1"/>
          </p:nvPr>
        </p:nvSpPr>
        <p:spPr bwMode="blackWhite">
          <a:xfrm>
            <a:off x="775384" y="1785600"/>
            <a:ext cx="6089855" cy="3286800"/>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813859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74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107"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5" name="Date Placeholder 4"/>
          <p:cNvSpPr>
            <a:spLocks noGrp="1"/>
          </p:cNvSpPr>
          <p:nvPr userDrawn="1">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Title 2"/>
          <p:cNvSpPr>
            <a:spLocks noGrp="1"/>
          </p:cNvSpPr>
          <p:nvPr userDrawn="1">
            <p:ph type="title" hasCustomPrompt="1"/>
          </p:nvPr>
        </p:nvSpPr>
        <p:spPr>
          <a:xfrm>
            <a:off x="775386" y="2680200"/>
            <a:ext cx="2442215" cy="1497600"/>
          </a:xfrm>
          <a:prstGeom prst="rect">
            <a:avLst/>
          </a:prstGeom>
        </p:spPr>
        <p:txBody>
          <a:bodyPr anchor="ctr">
            <a:no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36825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84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hasCustomPrompt="1"/>
          </p:nvPr>
        </p:nvSpPr>
        <p:spPr>
          <a:xfrm>
            <a:off x="775386" y="2680199"/>
            <a:ext cx="2442215" cy="1497600"/>
          </a:xfrm>
        </p:spPr>
        <p:txBody>
          <a:bodyPr anchor="ctr" anchorCtr="0">
            <a:noAutofit/>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6"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6216" b="7716"/>
          <a:stretch/>
        </p:blipFill>
        <p:spPr>
          <a:xfrm rot="120000">
            <a:off x="1734732" y="3402829"/>
            <a:ext cx="3316512" cy="3461745"/>
          </a:xfrm>
          <a:prstGeom prst="rect">
            <a:avLst/>
          </a:prstGeom>
        </p:spPr>
      </p:pic>
    </p:spTree>
    <p:extLst>
      <p:ext uri="{BB962C8B-B14F-4D97-AF65-F5344CB8AC3E}">
        <p14:creationId xmlns:p14="http://schemas.microsoft.com/office/powerpoint/2010/main" val="4134723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94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91923" y="3395663"/>
            <a:ext cx="1598246" cy="3571875"/>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8" name="Date Placeholder 7"/>
          <p:cNvSpPr>
            <a:spLocks noGrp="1"/>
          </p:cNvSpPr>
          <p:nvPr userDrawn="1">
            <p:ph type="dt" sz="half" idx="1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867347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4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a:ex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6"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2" name="Picture 11"/>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7562" b="6867"/>
          <a:stretch/>
        </p:blipFill>
        <p:spPr>
          <a:xfrm>
            <a:off x="3181073" y="3416300"/>
            <a:ext cx="3316512" cy="3441700"/>
          </a:xfrm>
          <a:prstGeom prst="rect">
            <a:avLst/>
          </a:prstGeom>
        </p:spPr>
      </p:pic>
    </p:spTree>
    <p:extLst>
      <p:ext uri="{BB962C8B-B14F-4D97-AF65-F5344CB8AC3E}">
        <p14:creationId xmlns:p14="http://schemas.microsoft.com/office/powerpoint/2010/main" val="1673701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5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386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6" name="ArrowPanelGray"/>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8" name="Date Placeholder 7"/>
          <p:cNvSpPr>
            <a:spLocks noGrp="1"/>
          </p:cNvSpPr>
          <p:nvPr>
            <p:ph type="dt" sz="half" idx="16"/>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8"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6" name="Title 2"/>
          <p:cNvSpPr>
            <a:spLocks noGrp="1"/>
          </p:cNvSpPr>
          <p:nvPr>
            <p:ph type="title" hasCustomPrompt="1"/>
          </p:nvPr>
        </p:nvSpPr>
        <p:spPr>
          <a:xfrm>
            <a:off x="775385" y="622800"/>
            <a:ext cx="4550338" cy="387798"/>
          </a:xfrm>
          <a:prstGeom prst="rect">
            <a:avLst/>
          </a:prstGeom>
        </p:spPr>
        <p:txBody>
          <a:bodyPr wrap="square">
            <a:spAutoFit/>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4004567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Editar estilos de texto Mestre</a:t>
            </a:r>
          </a:p>
        </p:txBody>
      </p:sp>
      <p:sp>
        <p:nvSpPr>
          <p:cNvPr id="4" name="Date Placeholder 3"/>
          <p:cNvSpPr>
            <a:spLocks noGrp="1"/>
          </p:cNvSpPr>
          <p:nvPr>
            <p:ph type="dt" sz="half" idx="10"/>
          </p:nvPr>
        </p:nvSpPr>
        <p:spPr/>
        <p:txBody>
          <a:bodyPr/>
          <a:lstStyle/>
          <a:p>
            <a:fld id="{F0E51C7C-CEA3-4CAA-BE4B-344879E7C377}" type="datetimeFigureOut">
              <a:rPr lang="de-DE" smtClean="0"/>
              <a:t>21.11.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33437341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25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6" name="ArrowPanelGray"/>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6" name="Title 2"/>
          <p:cNvSpPr>
            <a:spLocks noGrp="1"/>
          </p:cNvSpPr>
          <p:nvPr>
            <p:ph type="title" hasCustomPrompt="1"/>
          </p:nvPr>
        </p:nvSpPr>
        <p:spPr>
          <a:xfrm>
            <a:off x="775385" y="622800"/>
            <a:ext cx="4550338" cy="387798"/>
          </a:xfrm>
          <a:prstGeom prst="rect">
            <a:avLst/>
          </a:prstGeom>
        </p:spPr>
        <p:txBody>
          <a:bodyPr wrap="square">
            <a:spAutoFit/>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3"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4"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19" name="Picture 18"/>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4044426" y="3407804"/>
            <a:ext cx="3316512" cy="3456551"/>
          </a:xfrm>
          <a:prstGeom prst="rect">
            <a:avLst/>
          </a:prstGeom>
        </p:spPr>
      </p:pic>
    </p:spTree>
    <p:extLst>
      <p:ext uri="{BB962C8B-B14F-4D97-AF65-F5344CB8AC3E}">
        <p14:creationId xmlns:p14="http://schemas.microsoft.com/office/powerpoint/2010/main" val="297317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35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9563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Gray"/>
          <p:cNvSpPr/>
          <p:nvPr userDrawn="1"/>
        </p:nvSpPr>
        <p:spPr bwMode="white">
          <a:xfrm>
            <a:off x="0" y="0"/>
            <a:ext cx="8620450"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Title 3"/>
          <p:cNvSpPr>
            <a:spLocks noGrp="1"/>
          </p:cNvSpPr>
          <p:nvPr>
            <p:ph type="title" hasCustomPrompt="1"/>
          </p:nvPr>
        </p:nvSpPr>
        <p:spPr>
          <a:xfrm>
            <a:off x="775385" y="622800"/>
            <a:ext cx="6090153" cy="388800"/>
          </a:xfrm>
        </p:spPr>
        <p:txBody>
          <a:bodyPr/>
          <a:lstStyle>
            <a:lvl1pPr>
              <a:defRPr sz="28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906145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45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4" name="ArrowPanelGray"/>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1" name="Title 3"/>
          <p:cNvSpPr>
            <a:spLocks noGrp="1"/>
          </p:cNvSpPr>
          <p:nvPr>
            <p:ph type="title" hasCustomPrompt="1"/>
          </p:nvPr>
        </p:nvSpPr>
        <p:spPr>
          <a:xfrm>
            <a:off x="775385" y="622800"/>
            <a:ext cx="6090153" cy="388800"/>
          </a:xfrm>
        </p:spPr>
        <p:txBody>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pic>
        <p:nvPicPr>
          <p:cNvPr id="20" name="Picture 19"/>
          <p:cNvPicPr>
            <a:picLocks noChangeAspect="1"/>
          </p:cNvPicPr>
          <p:nvPr userDrawn="1"/>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9052" b="6867"/>
          <a:stretch/>
        </p:blipFill>
        <p:spPr>
          <a:xfrm rot="120000">
            <a:off x="6006999" y="3407804"/>
            <a:ext cx="3316512" cy="3456551"/>
          </a:xfrm>
          <a:prstGeom prst="rect">
            <a:avLst/>
          </a:prstGeom>
        </p:spPr>
      </p:pic>
    </p:spTree>
    <p:extLst>
      <p:ext uri="{BB962C8B-B14F-4D97-AF65-F5344CB8AC3E}">
        <p14:creationId xmlns:p14="http://schemas.microsoft.com/office/powerpoint/2010/main" val="1974987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56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Page"/>
          <p:cNvSpPr txBox="1"/>
          <p:nvPr/>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77457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663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775385" y="625475"/>
            <a:ext cx="1129498"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316674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76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54" name="Shadow"/>
          <p:cNvPicPr>
            <a:picLocks noChangeAspect="1"/>
          </p:cNvPicPr>
          <p:nvPr userDrawn="1"/>
        </p:nvPicPr>
        <p:blipFill rotWithShape="1">
          <a:blip r:embed="rId6">
            <a:extLst>
              <a:ext uri="{28A0092B-C50C-407E-A947-70E740481C1C}">
                <a14:useLocalDpi xmlns:a14="http://schemas.microsoft.com/office/drawing/2010/main" val="0"/>
              </a:ext>
            </a:extLst>
          </a:blip>
          <a:srcRect l="1" r="3633" b="23083"/>
          <a:stretch/>
        </p:blipFill>
        <p:spPr>
          <a:xfrm rot="16200000" flipH="1">
            <a:off x="7004220" y="365853"/>
            <a:ext cx="769257" cy="9606303"/>
          </a:xfrm>
          <a:prstGeom prst="rect">
            <a:avLst/>
          </a:prstGeom>
        </p:spPr>
      </p:pic>
      <p:grpSp>
        <p:nvGrpSpPr>
          <p:cNvPr id="57" name="Bubble"/>
          <p:cNvGrpSpPr/>
          <p:nvPr userDrawn="1"/>
        </p:nvGrpSpPr>
        <p:grpSpPr>
          <a:xfrm>
            <a:off x="1" y="1"/>
            <a:ext cx="12191998" cy="5859885"/>
            <a:chOff x="1" y="0"/>
            <a:chExt cx="9905998" cy="5859885"/>
          </a:xfrm>
        </p:grpSpPr>
        <p:sp>
          <p:nvSpPr>
            <p:cNvPr id="4" name="Rectangle 3"/>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sp>
          <p:nvSpPr>
            <p:cNvPr id="56" name="Right Triangle 55"/>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grpSp>
      <p:sp>
        <p:nvSpPr>
          <p:cNvPr id="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1085929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86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775384" y="622800"/>
            <a:ext cx="10642708" cy="388800"/>
          </a:xfrm>
        </p:spPr>
        <p:txBody>
          <a:bodyPr/>
          <a:lstStyle>
            <a:lvl1pPr>
              <a:defRPr sz="28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70958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97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 name="Date Placeholder 4"/>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383638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3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4196793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17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0"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60256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Date Placeholder 4"/>
          <p:cNvSpPr>
            <a:spLocks noGrp="1"/>
          </p:cNvSpPr>
          <p:nvPr>
            <p:ph type="dt" sz="half" idx="10"/>
          </p:nvPr>
        </p:nvSpPr>
        <p:spPr/>
        <p:txBody>
          <a:bodyPr/>
          <a:lstStyle/>
          <a:p>
            <a:fld id="{F0E51C7C-CEA3-4CAA-BE4B-344879E7C377}" type="datetimeFigureOut">
              <a:rPr lang="de-DE" smtClean="0"/>
              <a:t>21.11.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41326216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27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Tree>
    <p:extLst>
      <p:ext uri="{BB962C8B-B14F-4D97-AF65-F5344CB8AC3E}">
        <p14:creationId xmlns:p14="http://schemas.microsoft.com/office/powerpoint/2010/main" val="299837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Layout guide">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38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7" name="Date Placeholder 1"/>
          <p:cNvSpPr>
            <a:spLocks noGrp="1"/>
          </p:cNvSpPr>
          <p:nvPr userDrawn="1">
            <p:ph type="dt" sz="half" idx="10"/>
          </p:nvPr>
        </p:nvSpPr>
        <p:spPr>
          <a:xfrm>
            <a:off x="9738829" y="6405036"/>
            <a:ext cx="1271632"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Trebuchet MS" panose="020B060302020202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sym typeface="Trebuchet MS" panose="020B0603020202020204" pitchFamily="34" charset="0"/>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sym typeface="Trebuchet MS" panose="020B0603020202020204" pitchFamily="34" charset="0"/>
              </a:endParaRPr>
            </a:p>
          </p:txBody>
        </p:sp>
        <p:sp>
          <p:nvSpPr>
            <p:cNvPr id="64"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IN" sz="1000" dirty="0">
                  <a:solidFill>
                    <a:srgbClr val="A6A6A6"/>
                  </a:solidFill>
                  <a:latin typeface="Trebuchet MS" panose="020B0603020202020204" pitchFamily="34" charset="0"/>
                  <a:sym typeface="Trebuchet MS" panose="020B0603020202020204" pitchFamily="34" charset="0"/>
                </a:rPr>
                <a:t>1. </a:t>
              </a:r>
              <a:r>
                <a:rPr lang="en-IN" sz="1000" dirty="0" err="1">
                  <a:solidFill>
                    <a:srgbClr val="A6A6A6"/>
                  </a:solidFill>
                  <a:latin typeface="Trebuchet MS" panose="020B0603020202020204" pitchFamily="34" charset="0"/>
                  <a:sym typeface="Trebuchet MS" panose="020B0603020202020204" pitchFamily="34" charset="0"/>
                </a:rPr>
                <a:t>xxxx</a:t>
              </a:r>
              <a:r>
                <a:rPr lang="en-IN" sz="1000" dirty="0">
                  <a:solidFill>
                    <a:srgbClr val="A6A6A6"/>
                  </a:solidFill>
                  <a:latin typeface="Trebuchet MS" panose="020B0603020202020204" pitchFamily="34" charset="0"/>
                  <a:sym typeface="Trebuchet MS" panose="020B0603020202020204" pitchFamily="34" charset="0"/>
                </a:rPr>
                <a:t>  2. </a:t>
              </a:r>
              <a:r>
                <a:rPr lang="en-IN" sz="1000" dirty="0" err="1">
                  <a:solidFill>
                    <a:srgbClr val="A6A6A6"/>
                  </a:solidFill>
                  <a:latin typeface="Trebuchet MS" panose="020B0603020202020204" pitchFamily="34" charset="0"/>
                  <a:sym typeface="Trebuchet MS" panose="020B0603020202020204" pitchFamily="34" charset="0"/>
                </a:rPr>
                <a:t>xxxx</a:t>
              </a:r>
              <a:r>
                <a:rPr lang="en-IN" sz="1000" dirty="0">
                  <a:solidFill>
                    <a:srgbClr val="A6A6A6"/>
                  </a:solidFill>
                  <a:latin typeface="Trebuchet MS" panose="020B0603020202020204" pitchFamily="34" charset="0"/>
                  <a:sym typeface="Trebuchet MS" panose="020B0603020202020204" pitchFamily="34" charset="0"/>
                </a:rPr>
                <a:t>  3. List footnotes in numerical order. Footnote numbers are not bracketed. Use 10pt font</a:t>
              </a:r>
            </a:p>
            <a:p>
              <a:r>
                <a:rPr lang="en-IN" sz="1000" dirty="0">
                  <a:solidFill>
                    <a:srgbClr val="A6A6A6"/>
                  </a:solidFill>
                  <a:latin typeface="Trebuchet MS" panose="020B0603020202020204" pitchFamily="34" charset="0"/>
                  <a:sym typeface="Trebuchet MS" panose="020B0603020202020204" pitchFamily="34" charset="0"/>
                </a:rPr>
                <a:t>Note: Do not put a period at the end of the note or the source</a:t>
              </a:r>
            </a:p>
            <a:p>
              <a:r>
                <a:rPr lang="en-IN" sz="1000" dirty="0">
                  <a:solidFill>
                    <a:srgbClr val="A6A6A6"/>
                  </a:solidFill>
                  <a:latin typeface="Trebuchet MS" panose="020B060302020202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rgbClr val="A6A6A6"/>
                </a:solidFill>
                <a:effectLst/>
                <a:uLnTx/>
                <a:uFillTx/>
                <a:latin typeface="Trebuchet MS" panose="020B0603020202020204" pitchFamily="34" charset="0"/>
                <a:ea typeface="+mn-ea"/>
                <a:cs typeface="+mn-cs"/>
                <a:sym typeface="Trebuchet MS" panose="020B0603020202020204" pitchFamily="34" charset="0"/>
              </a:endParaRPr>
            </a:p>
          </p:txBody>
        </p:sp>
      </p:grpSp>
    </p:spTree>
    <p:extLst>
      <p:ext uri="{BB962C8B-B14F-4D97-AF65-F5344CB8AC3E}">
        <p14:creationId xmlns:p14="http://schemas.microsoft.com/office/powerpoint/2010/main" val="184728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48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a:extLst>
              <a:ext uri="{28A0092B-C50C-407E-A947-70E740481C1C}">
                <a14:useLocalDpi xmlns:a14="http://schemas.microsoft.com/office/drawing/2010/main" val="0"/>
              </a:ext>
            </a:extLst>
          </a:blip>
          <a:srcRect l="1731" t="8741" r="102" b="27"/>
          <a:stretch/>
        </p:blipFill>
        <p:spPr>
          <a:xfrm rot="16200000" flipH="1">
            <a:off x="7681406" y="1181965"/>
            <a:ext cx="580573" cy="8440615"/>
          </a:xfrm>
          <a:prstGeom prst="rect">
            <a:avLst/>
          </a:prstGeom>
        </p:spPr>
      </p:pic>
      <p:pic>
        <p:nvPicPr>
          <p:cNvPr id="63" name="Picture 62"/>
          <p:cNvPicPr>
            <a:picLocks noChangeAspect="1"/>
          </p:cNvPicPr>
          <p:nvPr userDrawn="1"/>
        </p:nvPicPr>
        <p:blipFill rotWithShape="1">
          <a:blip r:embed="rId7">
            <a:extLst>
              <a:ext uri="{28A0092B-C50C-407E-A947-70E740481C1C}">
                <a14:useLocalDpi xmlns:a14="http://schemas.microsoft.com/office/drawing/2010/main" val="0"/>
              </a:ext>
            </a:extLst>
          </a:blip>
          <a:srcRect l="1852" r="1852" b="23132"/>
          <a:stretch/>
        </p:blipFill>
        <p:spPr>
          <a:xfrm>
            <a:off x="0" y="-1"/>
            <a:ext cx="12192000" cy="5271609"/>
          </a:xfrm>
          <a:prstGeom prst="rect">
            <a:avLst/>
          </a:prstGeom>
        </p:spPr>
      </p:pic>
      <p:sp>
        <p:nvSpPr>
          <p:cNvPr id="64" name="PanelGreen"/>
          <p:cNvSpPr>
            <a:spLocks noChangeAspect="1"/>
          </p:cNvSpPr>
          <p:nvPr userDrawn="1"/>
        </p:nvSpPr>
        <p:spPr bwMode="black">
          <a:xfrm>
            <a:off x="775384" y="622800"/>
            <a:ext cx="7910583" cy="5533200"/>
          </a:xfrm>
          <a:prstGeom prst="rect">
            <a:avLst/>
          </a:prstGeom>
          <a:gradFill flip="none" rotWithShape="1">
            <a:gsLst>
              <a:gs pos="0">
                <a:schemeClr val="accent1">
                  <a:alpha val="90000"/>
                </a:schemeClr>
              </a:gs>
              <a:gs pos="100000">
                <a:srgbClr val="B7D1F7">
                  <a:alpha val="89804"/>
                </a:srgb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Trebuchet MS" panose="020B0603020202020204" pitchFamily="34" charset="0"/>
              <a:sym typeface="Trebuchet MS" panose="020B0603020202020204" pitchFamily="34" charset="0"/>
            </a:endParaRPr>
          </a:p>
        </p:txBody>
      </p:sp>
      <p:sp>
        <p:nvSpPr>
          <p:cNvPr id="65" name="Text Placeholder 6"/>
          <p:cNvSpPr>
            <a:spLocks noGrp="1"/>
          </p:cNvSpPr>
          <p:nvPr>
            <p:ph type="body" sz="quarter" idx="12" hasCustomPrompt="1"/>
          </p:nvPr>
        </p:nvSpPr>
        <p:spPr bwMode="black">
          <a:xfrm>
            <a:off x="1089969" y="6207842"/>
            <a:ext cx="6685782" cy="327148"/>
          </a:xfrm>
          <a:prstGeom prst="rect">
            <a:avLst/>
          </a:prstGeom>
          <a:noFill/>
        </p:spPr>
        <p:txBody>
          <a:bodyPr anchor="ctr"/>
          <a:lstStyle>
            <a:lvl1pPr algn="l">
              <a:lnSpc>
                <a:spcPct val="110000"/>
              </a:lnSpc>
              <a:buNone/>
              <a:defRPr sz="1000" b="1" cap="all" baseline="0">
                <a:solidFill>
                  <a:schemeClr val="accent5"/>
                </a:solidFill>
                <a:latin typeface="Trebuchet MS" panose="020B0603020202020204" pitchFamily="34" charset="0"/>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66" name="Subtitle 2"/>
          <p:cNvSpPr>
            <a:spLocks noGrp="1"/>
          </p:cNvSpPr>
          <p:nvPr>
            <p:ph type="subTitle" idx="1" hasCustomPrompt="1"/>
          </p:nvPr>
        </p:nvSpPr>
        <p:spPr bwMode="white">
          <a:xfrm>
            <a:off x="1089969" y="5495708"/>
            <a:ext cx="6685782" cy="436195"/>
          </a:xfrm>
          <a:prstGeom prst="rect">
            <a:avLst/>
          </a:prstGeom>
        </p:spPr>
        <p:txBody>
          <a:bodyPr anchor="ctr"/>
          <a:lstStyle>
            <a:lvl1pPr marL="0" indent="0" algn="l">
              <a:lnSpc>
                <a:spcPct val="110000"/>
              </a:lnSpc>
              <a:buNone/>
              <a:defRPr sz="1400">
                <a:solidFill>
                  <a:schemeClr val="bg1"/>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67" name="Title 1"/>
          <p:cNvSpPr>
            <a:spLocks noGrp="1"/>
          </p:cNvSpPr>
          <p:nvPr>
            <p:ph type="ctrTitle" hasCustomPrompt="1"/>
          </p:nvPr>
        </p:nvSpPr>
        <p:spPr bwMode="ltGray">
          <a:xfrm>
            <a:off x="1089969" y="1886244"/>
            <a:ext cx="6685782" cy="3138423"/>
          </a:xfrm>
          <a:prstGeom prst="rect">
            <a:avLst/>
          </a:prstGeom>
        </p:spPr>
        <p:txBody>
          <a:bodyPr anchor="b">
            <a:normAutofit/>
          </a:bodyPr>
          <a:lstStyle>
            <a:lvl1pPr algn="l">
              <a:lnSpc>
                <a:spcPct val="93000"/>
              </a:lnSpc>
              <a:defRPr sz="4400" baseline="0">
                <a:solidFill>
                  <a:schemeClr val="bg1"/>
                </a:solidFill>
                <a:latin typeface="Trebuchet MS" panose="020B0603020202020204" pitchFamily="34" charset="0"/>
                <a:sym typeface="Trebuchet MS" panose="020B0603020202020204" pitchFamily="34" charset="0"/>
              </a:defRPr>
            </a:lvl1pPr>
          </a:lstStyle>
          <a:p>
            <a:r>
              <a:rPr lang="en-US" dirty="0"/>
              <a:t>Title in Title Case</a:t>
            </a:r>
          </a:p>
        </p:txBody>
      </p:sp>
      <p:pic>
        <p:nvPicPr>
          <p:cNvPr id="68" name="Picture 67"/>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038076" y="5563440"/>
            <a:ext cx="2801815" cy="971550"/>
          </a:xfrm>
          <a:prstGeom prst="rect">
            <a:avLst/>
          </a:prstGeom>
        </p:spPr>
      </p:pic>
    </p:spTree>
    <p:extLst>
      <p:ext uri="{BB962C8B-B14F-4D97-AF65-F5344CB8AC3E}">
        <p14:creationId xmlns:p14="http://schemas.microsoft.com/office/powerpoint/2010/main" val="2957973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58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775384" y="622801"/>
            <a:ext cx="10642708" cy="332399"/>
          </a:xfr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299612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68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PanelGray"/>
          <p:cNvSpPr/>
          <p:nvPr userDrawn="1"/>
        </p:nvSpPr>
        <p:spPr bwMode="white">
          <a:xfrm>
            <a:off x="1" y="-1309"/>
            <a:ext cx="4736492"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Trebuchet MS" panose="020B0603020202020204" pitchFamily="34" charset="0"/>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Subtitle 2"/>
          <p:cNvSpPr>
            <a:spLocks noGrp="1"/>
          </p:cNvSpPr>
          <p:nvPr>
            <p:ph type="subTitle" idx="13" hasCustomPrompt="1"/>
          </p:nvPr>
        </p:nvSpPr>
        <p:spPr>
          <a:xfrm>
            <a:off x="775385" y="2158989"/>
            <a:ext cx="3640123"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775385" y="1227050"/>
            <a:ext cx="3640123"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101951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78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089969" y="2668041"/>
            <a:ext cx="1001353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Square"/>
          <p:cNvSpPr>
            <a:spLocks noChangeAspect="1"/>
          </p:cNvSpPr>
          <p:nvPr userDrawn="1"/>
        </p:nvSpPr>
        <p:spPr bwMode="white">
          <a:xfrm>
            <a:off x="1089969" y="1457803"/>
            <a:ext cx="1128278"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43407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89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775384" y="3826800"/>
            <a:ext cx="10642708" cy="2041200"/>
          </a:xfrm>
        </p:spPr>
        <p:txBody>
          <a:bodyPr anchor="t">
            <a:noAutofit/>
          </a:bodyPr>
          <a:lstStyle>
            <a:lvl1pPr>
              <a:defRPr sz="4400">
                <a:solidFill>
                  <a:schemeClr val="tx2"/>
                </a:solidFill>
                <a:latin typeface="Trebuchet MS" panose="020B0603020202020204" pitchFamily="34" charset="0"/>
                <a:sym typeface="Trebuchet MS" panose="020B0603020202020204" pitchFamily="34" charset="0"/>
              </a:defRPr>
            </a:lvl1pPr>
          </a:lstStyle>
          <a:p>
            <a:r>
              <a:rPr lang="en-US" dirty="0"/>
              <a:t>Click to add section title</a:t>
            </a:r>
          </a:p>
        </p:txBody>
      </p:sp>
      <p:cxnSp>
        <p:nvCxnSpPr>
          <p:cNvPr id="10" name="Line"/>
          <p:cNvCxnSpPr/>
          <p:nvPr userDrawn="1"/>
        </p:nvCxnSpPr>
        <p:spPr bwMode="white">
          <a:xfrm>
            <a:off x="775385" y="3682800"/>
            <a:ext cx="114180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5468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99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118216" y="0"/>
            <a:ext cx="513969" cy="6858000"/>
          </a:xfrm>
          <a:prstGeom prst="rect">
            <a:avLst/>
          </a:prstGeom>
        </p:spPr>
      </p:pic>
      <p:sp>
        <p:nvSpPr>
          <p:cNvPr id="65" name="PanelGray"/>
          <p:cNvSpPr/>
          <p:nvPr userDrawn="1"/>
        </p:nvSpPr>
        <p:spPr bwMode="white">
          <a:xfrm>
            <a:off x="1" y="0"/>
            <a:ext cx="413273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8" name="Date Placeholder 1"/>
          <p:cNvSpPr>
            <a:spLocks noGrp="1"/>
          </p:cNvSpPr>
          <p:nvPr>
            <p:ph type="dt" sz="half" idx="3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5"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238631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09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64" name="PanelWhite"/>
          <p:cNvSpPr/>
          <p:nvPr userDrawn="1"/>
        </p:nvSpPr>
        <p:spPr bwMode="white">
          <a:xfrm>
            <a:off x="1" y="0"/>
            <a:ext cx="715289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5" y="622801"/>
            <a:ext cx="6084150"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916158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99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8960645" y="0"/>
            <a:ext cx="513969" cy="6858000"/>
          </a:xfrm>
          <a:prstGeom prst="rect">
            <a:avLst/>
          </a:prstGeom>
        </p:spPr>
      </p:pic>
      <p:sp>
        <p:nvSpPr>
          <p:cNvPr id="63" name="PanelWhite"/>
          <p:cNvSpPr/>
          <p:nvPr userDrawn="1"/>
        </p:nvSpPr>
        <p:spPr bwMode="white">
          <a:xfrm>
            <a:off x="0" y="0"/>
            <a:ext cx="89682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Date Placeholder 4"/>
          <p:cNvSpPr>
            <a:spLocks noGrp="1"/>
          </p:cNvSpPr>
          <p:nvPr userDrawn="1">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2"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userDrawn="1">
            <p:ph type="title" hasCustomPrompt="1"/>
          </p:nvPr>
        </p:nvSpPr>
        <p:spPr>
          <a:xfrm>
            <a:off x="775384" y="622801"/>
            <a:ext cx="790968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92915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pt-BR"/>
              <a:t>Clique para editar o título mestr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4" name="Content Placeholder 3"/>
          <p:cNvSpPr>
            <a:spLocks noGrp="1"/>
          </p:cNvSpPr>
          <p:nvPr>
            <p:ph sz="half" idx="2"/>
          </p:nvPr>
        </p:nvSpPr>
        <p:spPr>
          <a:xfrm>
            <a:off x="839788" y="2505075"/>
            <a:ext cx="5157787"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Editar estilos de texto Mestre</a:t>
            </a:r>
          </a:p>
        </p:txBody>
      </p:sp>
      <p:sp>
        <p:nvSpPr>
          <p:cNvPr id="6" name="Content Placeholder 5"/>
          <p:cNvSpPr>
            <a:spLocks noGrp="1"/>
          </p:cNvSpPr>
          <p:nvPr>
            <p:ph sz="quarter" idx="4"/>
          </p:nvPr>
        </p:nvSpPr>
        <p:spPr>
          <a:xfrm>
            <a:off x="6172200" y="2505075"/>
            <a:ext cx="5183188" cy="3684588"/>
          </a:xfrm>
        </p:spPr>
        <p:txBody>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7" name="Date Placeholder 6"/>
          <p:cNvSpPr>
            <a:spLocks noGrp="1"/>
          </p:cNvSpPr>
          <p:nvPr>
            <p:ph type="dt" sz="half" idx="10"/>
          </p:nvPr>
        </p:nvSpPr>
        <p:spPr/>
        <p:txBody>
          <a:bodyPr/>
          <a:lstStyle/>
          <a:p>
            <a:fld id="{F0E51C7C-CEA3-4CAA-BE4B-344879E7C377}" type="datetimeFigureOut">
              <a:rPr lang="de-DE" smtClean="0"/>
              <a:t>21.11.2019</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1305763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30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5" name="PanelWhite"/>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2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4"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943818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40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65" name="PanelWhite"/>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2" name="Picture Placeholder 18"/>
          <p:cNvSpPr>
            <a:spLocks noGrp="1"/>
          </p:cNvSpPr>
          <p:nvPr>
            <p:ph type="pic" sz="quarter" idx="14" hasCustomPrompt="1"/>
          </p:nvPr>
        </p:nvSpPr>
        <p:spPr>
          <a:xfrm>
            <a:off x="6095262" y="0"/>
            <a:ext cx="6096738"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1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3" name="Title 1"/>
          <p:cNvSpPr>
            <a:spLocks noGrp="1"/>
          </p:cNvSpPr>
          <p:nvPr>
            <p:ph type="title" hasCustomPrompt="1"/>
          </p:nvPr>
        </p:nvSpPr>
        <p:spPr bwMode="blackWhite">
          <a:xfrm>
            <a:off x="775384" y="1785600"/>
            <a:ext cx="4271262" cy="3286800"/>
          </a:xfrm>
          <a:prstGeom prst="rect">
            <a:avLst/>
          </a:prstGeom>
          <a:noFill/>
        </p:spPr>
        <p:txBody>
          <a:bodyPr wrap="square" lIns="0" tIns="0" rIns="320040" bIns="0"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212520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506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5" name="PanelWhite"/>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66"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3" name="Date Placeholder 2"/>
          <p:cNvSpPr>
            <a:spLocks noGrp="1"/>
          </p:cNvSpPr>
          <p:nvPr>
            <p:ph type="dt" sz="half" idx="12"/>
          </p:nvPr>
        </p:nvSpPr>
        <p:spPr>
          <a:xfrm>
            <a:off x="9738831" y="6405036"/>
            <a:ext cx="127163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775385" y="1785600"/>
            <a:ext cx="6087877" cy="3286800"/>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512358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60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4"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itle 2"/>
          <p:cNvSpPr>
            <a:spLocks noGrp="1"/>
          </p:cNvSpPr>
          <p:nvPr>
            <p:ph type="title" hasCustomPrompt="1"/>
          </p:nvPr>
        </p:nvSpPr>
        <p:spPr>
          <a:xfrm>
            <a:off x="775385" y="2771846"/>
            <a:ext cx="2441354"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052083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71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5" name="Title 4"/>
          <p:cNvSpPr>
            <a:spLocks noGrp="1"/>
          </p:cNvSpPr>
          <p:nvPr>
            <p:ph type="title" hasCustomPrompt="1"/>
          </p:nvPr>
        </p:nvSpPr>
        <p:spPr>
          <a:xfrm>
            <a:off x="775385" y="2771846"/>
            <a:ext cx="2441354" cy="1314311"/>
          </a:xfrm>
        </p:spPr>
        <p:txBody>
          <a:bodyPr anchor="ctr" anchorCtr="0">
            <a:noAutofit/>
          </a:bodyPr>
          <a:lstStyle>
            <a:lvl1pPr>
              <a:defRPr sz="280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594086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813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391923" y="3395663"/>
            <a:ext cx="1598246" cy="3571875"/>
          </a:xfrm>
          <a:prstGeom prst="rect">
            <a:avLst/>
          </a:prstGeom>
          <a:noFill/>
          <a:extLst>
            <a:ext uri="{909E8E84-426E-40DD-AFC4-6F175D3DCCD1}">
              <a14:hiddenFill xmlns:a14="http://schemas.microsoft.com/office/drawing/2010/main">
                <a:solidFill>
                  <a:srgbClr val="FFFFFF"/>
                </a:solidFill>
              </a14:hiddenFill>
            </a:ext>
          </a:extLst>
        </p:spPr>
      </p:pic>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chemeClr val="bg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8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738831" y="6405036"/>
            <a:ext cx="127163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7"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itle 1"/>
          <p:cNvSpPr>
            <a:spLocks noGrp="1"/>
          </p:cNvSpPr>
          <p:nvPr>
            <p:ph type="title" hasCustomPrompt="1"/>
          </p:nvPr>
        </p:nvSpPr>
        <p:spPr>
          <a:xfrm>
            <a:off x="775385" y="1785600"/>
            <a:ext cx="3956677" cy="3286800"/>
          </a:xfrm>
          <a:prstGeom prst="rect">
            <a:avLst/>
          </a:prstGeom>
        </p:spPr>
        <p:txBody>
          <a:bodyPr anchor="ctr">
            <a:noAutofit/>
          </a:bodyPr>
          <a:lstStyle>
            <a:lvl1pPr>
              <a:defRPr sz="32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43398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91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Trebuchet MS" panose="020B0603020202020204" pitchFamily="34" charset="0"/>
              <a:sym typeface="Trebuchet MS" panose="020B0603020202020204" pitchFamily="34" charset="0"/>
            </a:endParaRPr>
          </a:p>
        </p:txBody>
      </p:sp>
      <p:sp>
        <p:nvSpPr>
          <p:cNvPr id="20" name="Title 1"/>
          <p:cNvSpPr>
            <a:spLocks noGrp="1"/>
          </p:cNvSpPr>
          <p:nvPr>
            <p:ph type="title" hasCustomPrompt="1"/>
          </p:nvPr>
        </p:nvSpPr>
        <p:spPr>
          <a:xfrm>
            <a:off x="775385" y="1785600"/>
            <a:ext cx="3956677" cy="3286800"/>
          </a:xfrm>
          <a:prstGeom prst="rect">
            <a:avLst/>
          </a:prstGeom>
        </p:spPr>
        <p:txBody>
          <a:bodyPr anchor="ctr">
            <a:noAutofit/>
          </a:bodyPr>
          <a:lstStyle>
            <a:lvl1pPr>
              <a:defRPr sz="32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5"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335426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501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21386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8"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3" name="Title 2"/>
          <p:cNvSpPr>
            <a:spLocks noGrp="1"/>
          </p:cNvSpPr>
          <p:nvPr>
            <p:ph type="title" hasCustomPrompt="1"/>
          </p:nvPr>
        </p:nvSpPr>
        <p:spPr>
          <a:xfrm>
            <a:off x="775386" y="622801"/>
            <a:ext cx="4550338"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808574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21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2" name="ArrowPanelWhite"/>
          <p:cNvSpPr/>
          <p:nvPr userDrawn="1"/>
        </p:nvSpPr>
        <p:spPr bwMode="white">
          <a:xfrm>
            <a:off x="3"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hasCustomPrompt="1"/>
          </p:nvPr>
        </p:nvSpPr>
        <p:spPr>
          <a:xfrm>
            <a:off x="775386" y="622801"/>
            <a:ext cx="4550338"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628762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223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1"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195633"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5" y="622801"/>
            <a:ext cx="6090153"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721815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t-BR"/>
              <a:t>Clique para editar o título mestre</a:t>
            </a:r>
            <a:endParaRPr lang="en-US" dirty="0"/>
          </a:p>
        </p:txBody>
      </p:sp>
      <p:sp>
        <p:nvSpPr>
          <p:cNvPr id="3" name="Date Placeholder 2"/>
          <p:cNvSpPr>
            <a:spLocks noGrp="1"/>
          </p:cNvSpPr>
          <p:nvPr>
            <p:ph type="dt" sz="half" idx="10"/>
          </p:nvPr>
        </p:nvSpPr>
        <p:spPr/>
        <p:txBody>
          <a:bodyPr/>
          <a:lstStyle/>
          <a:p>
            <a:fld id="{F0E51C7C-CEA3-4CAA-BE4B-344879E7C377}" type="datetimeFigureOut">
              <a:rPr lang="de-DE" smtClean="0"/>
              <a:t>21.11.2019</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8044003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325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hasCustomPrompt="1"/>
          </p:nvPr>
        </p:nvSpPr>
        <p:spPr>
          <a:xfrm>
            <a:off x="775385" y="622801"/>
            <a:ext cx="6090153"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13" name="Copyright" hidden="1"/>
          <p:cNvSpPr txBox="1"/>
          <p:nvPr userDrawn="1"/>
        </p:nvSpPr>
        <p:spPr>
          <a:xfrm rot="16200000">
            <a:off x="9453102"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5"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466474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42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0"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7"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556879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530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accent4"/>
                </a:solidFill>
                <a:latin typeface="Trebuchet MS" panose="020B0603020202020204" pitchFamily="34" charset="0"/>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775385" y="622800"/>
            <a:ext cx="1129498" cy="9180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232050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633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5" y="1589"/>
                        <a:ext cx="1953" cy="1587"/>
                      </a:xfrm>
                      <a:prstGeom prst="rect">
                        <a:avLst/>
                      </a:prstGeom>
                    </p:spPr>
                  </p:pic>
                </p:oleObj>
              </mc:Fallback>
            </mc:AlternateContent>
          </a:graphicData>
        </a:graphic>
      </p:graphicFrame>
      <p:pic>
        <p:nvPicPr>
          <p:cNvPr id="12" name="Shadow"/>
          <p:cNvPicPr>
            <a:picLocks noChangeAspect="1"/>
          </p:cNvPicPr>
          <p:nvPr userDrawn="1"/>
        </p:nvPicPr>
        <p:blipFill rotWithShape="1">
          <a:blip r:embed="rId6">
            <a:extLst>
              <a:ext uri="{28A0092B-C50C-407E-A947-70E740481C1C}">
                <a14:useLocalDpi xmlns:a14="http://schemas.microsoft.com/office/drawing/2010/main" val="0"/>
              </a:ext>
            </a:extLst>
          </a:blip>
          <a:srcRect l="1" r="3633" b="23083"/>
          <a:stretch/>
        </p:blipFill>
        <p:spPr>
          <a:xfrm rot="16200000" flipH="1">
            <a:off x="7004220" y="365853"/>
            <a:ext cx="769257" cy="9606303"/>
          </a:xfrm>
          <a:prstGeom prst="rect">
            <a:avLst/>
          </a:prstGeom>
        </p:spPr>
      </p:pic>
      <p:sp>
        <p:nvSpPr>
          <p:cNvPr id="6"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grpSp>
        <p:nvGrpSpPr>
          <p:cNvPr id="9" name="Bubble"/>
          <p:cNvGrpSpPr/>
          <p:nvPr userDrawn="1"/>
        </p:nvGrpSpPr>
        <p:grpSpPr>
          <a:xfrm>
            <a:off x="1" y="1"/>
            <a:ext cx="12191998" cy="5859885"/>
            <a:chOff x="1" y="0"/>
            <a:chExt cx="9905998" cy="5859885"/>
          </a:xfrm>
        </p:grpSpPr>
        <p:sp>
          <p:nvSpPr>
            <p:cNvPr id="10" name="Rectangle 9"/>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sp>
          <p:nvSpPr>
            <p:cNvPr id="11" name="Right Triangle 10"/>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Trebuchet MS" panose="020B0603020202020204" pitchFamily="34" charset="0"/>
                <a:sym typeface="Trebuchet MS" panose="020B0603020202020204" pitchFamily="34" charset="0"/>
              </a:endParaRPr>
            </a:p>
          </p:txBody>
        </p:sp>
      </p:grpSp>
    </p:spTree>
    <p:extLst>
      <p:ext uri="{BB962C8B-B14F-4D97-AF65-F5344CB8AC3E}">
        <p14:creationId xmlns:p14="http://schemas.microsoft.com/office/powerpoint/2010/main" val="41644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735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5" name="Page"/>
          <p:cNvSpPr txBox="1"/>
          <p:nvPr/>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11"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775384" y="622801"/>
            <a:ext cx="10642708"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602080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83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5"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24"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extBox 19"/>
          <p:cNvSpPr txBox="1"/>
          <p:nvPr userDrawn="1"/>
        </p:nvSpPr>
        <p:spPr>
          <a:xfrm>
            <a:off x="761449" y="2711241"/>
            <a:ext cx="2738215"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Trebuchet MS" panose="020B0603020202020204" pitchFamily="34" charset="0"/>
                <a:sym typeface="Trebuchet MS" panose="020B0603020202020204" pitchFamily="34" charset="0"/>
              </a:rPr>
              <a:t>Table of contents</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555886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94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1"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6" name="Date Placeholder 4"/>
          <p:cNvSpPr>
            <a:spLocks noGrp="1"/>
          </p:cNvSpPr>
          <p:nvPr>
            <p:ph type="dt" sz="half" idx="10"/>
          </p:nvPr>
        </p:nvSpPr>
        <p:spPr>
          <a:xfrm>
            <a:off x="9738831" y="6405036"/>
            <a:ext cx="127163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704759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04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a:p>
        </p:txBody>
      </p:sp>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422776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14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10"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9"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070074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247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Tree>
    <p:extLst>
      <p:ext uri="{BB962C8B-B14F-4D97-AF65-F5344CB8AC3E}">
        <p14:creationId xmlns:p14="http://schemas.microsoft.com/office/powerpoint/2010/main" val="2719985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0E51C7C-CEA3-4CAA-BE4B-344879E7C377}" type="datetimeFigureOut">
              <a:rPr lang="de-DE" smtClean="0"/>
              <a:t>21.11.2019</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23302342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349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955" y="1589"/>
                        <a:ext cx="1953" cy="1587"/>
                      </a:xfrm>
                      <a:prstGeom prst="rect">
                        <a:avLst/>
                      </a:prstGeom>
                    </p:spPr>
                  </p:pic>
                </p:oleObj>
              </mc:Fallback>
            </mc:AlternateContent>
          </a:graphicData>
        </a:graphic>
      </p:graphicFrame>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a:ln>
                  <a:noFill/>
                </a:ln>
                <a:effectLst/>
                <a:uLnTx/>
                <a:uFillTx/>
                <a:latin typeface="Trebuchet MS" panose="020B0603020202020204" pitchFamily="34" charset="0"/>
                <a:sym typeface="Trebuchet MS" panose="020B0603020202020204" pitchFamily="34" charset="0"/>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Trebuchet MS" panose="020B0603020202020204" pitchFamily="34" charset="0"/>
                <a:sym typeface="Trebuchet MS" panose="020B0603020202020204" pitchFamily="34" charset="0"/>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Trebuchet MS" panose="020B0603020202020204" pitchFamily="34" charset="0"/>
                  <a:sym typeface="Trebuchet MS" panose="020B0603020202020204" pitchFamily="34" charset="0"/>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a:latin typeface="Trebuchet MS" panose="020B0603020202020204" pitchFamily="34" charset="0"/>
                  <a:sym typeface="Trebuchet MS" panose="020B0603020202020204" pitchFamily="34" charset="0"/>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Trebuchet MS" panose="020B0603020202020204" pitchFamily="34" charset="0"/>
                <a:sym typeface="Trebuchet MS" panose="020B0603020202020204" pitchFamily="34" charset="0"/>
              </a:endParaRPr>
            </a:p>
          </p:txBody>
        </p:sp>
        <p:sp>
          <p:nvSpPr>
            <p:cNvPr id="63" name="Footnote example"/>
            <p:cNvSpPr txBox="1">
              <a:spLocks noChangeAspect="1"/>
            </p:cNvSpPr>
            <p:nvPr userDrawn="1"/>
          </p:nvSpPr>
          <p:spPr>
            <a:xfrm>
              <a:off x="629398" y="6099033"/>
              <a:ext cx="7283401" cy="461665"/>
            </a:xfrm>
            <a:prstGeom prst="rect">
              <a:avLst/>
            </a:prstGeom>
            <a:noFill/>
          </p:spPr>
          <p:txBody>
            <a:bodyPr wrap="square" lIns="0" tIns="0" rIns="0" bIns="0" rtlCol="0" anchor="b">
              <a:spAutoFit/>
            </a:bodyPr>
            <a:lstStyle/>
            <a:p>
              <a:r>
                <a:rPr lang="en-IN" sz="1000" dirty="0">
                  <a:solidFill>
                    <a:schemeClr val="bg1">
                      <a:lumMod val="50000"/>
                    </a:schemeClr>
                  </a:solidFill>
                  <a:latin typeface="Trebuchet MS" panose="020B0603020202020204" pitchFamily="34" charset="0"/>
                  <a:sym typeface="Trebuchet MS" panose="020B0603020202020204" pitchFamily="34" charset="0"/>
                </a:rPr>
                <a:t>1. </a:t>
              </a:r>
              <a:r>
                <a:rPr lang="en-IN" sz="1000" dirty="0" err="1">
                  <a:solidFill>
                    <a:schemeClr val="bg1">
                      <a:lumMod val="50000"/>
                    </a:schemeClr>
                  </a:solidFill>
                  <a:latin typeface="Trebuchet MS" panose="020B0603020202020204" pitchFamily="34" charset="0"/>
                  <a:sym typeface="Trebuchet MS" panose="020B0603020202020204" pitchFamily="34" charset="0"/>
                </a:rPr>
                <a:t>xxxx</a:t>
              </a:r>
              <a:r>
                <a:rPr lang="en-IN" sz="1000" dirty="0">
                  <a:solidFill>
                    <a:schemeClr val="bg1">
                      <a:lumMod val="50000"/>
                    </a:schemeClr>
                  </a:solidFill>
                  <a:latin typeface="Trebuchet MS" panose="020B0603020202020204" pitchFamily="34" charset="0"/>
                  <a:sym typeface="Trebuchet MS" panose="020B0603020202020204" pitchFamily="34" charset="0"/>
                </a:rPr>
                <a:t>  2. </a:t>
              </a:r>
              <a:r>
                <a:rPr lang="en-IN" sz="1000" dirty="0" err="1">
                  <a:solidFill>
                    <a:schemeClr val="bg1">
                      <a:lumMod val="50000"/>
                    </a:schemeClr>
                  </a:solidFill>
                  <a:latin typeface="Trebuchet MS" panose="020B0603020202020204" pitchFamily="34" charset="0"/>
                  <a:sym typeface="Trebuchet MS" panose="020B0603020202020204" pitchFamily="34" charset="0"/>
                </a:rPr>
                <a:t>xxxx</a:t>
              </a:r>
              <a:r>
                <a:rPr lang="en-IN" sz="1000" dirty="0">
                  <a:solidFill>
                    <a:schemeClr val="bg1">
                      <a:lumMod val="50000"/>
                    </a:schemeClr>
                  </a:solidFill>
                  <a:latin typeface="Trebuchet MS" panose="020B0603020202020204" pitchFamily="34" charset="0"/>
                  <a:sym typeface="Trebuchet MS" panose="020B0603020202020204" pitchFamily="34" charset="0"/>
                </a:rPr>
                <a:t>  3. List footnotes in numerical order. Footnote numbers are not bracketed. Use 10pt font</a:t>
              </a:r>
            </a:p>
            <a:p>
              <a:r>
                <a:rPr lang="en-IN" sz="1000" dirty="0">
                  <a:solidFill>
                    <a:schemeClr val="bg1">
                      <a:lumMod val="50000"/>
                    </a:schemeClr>
                  </a:solidFill>
                  <a:latin typeface="Trebuchet MS" panose="020B0603020202020204" pitchFamily="34" charset="0"/>
                  <a:sym typeface="Trebuchet MS" panose="020B0603020202020204" pitchFamily="34" charset="0"/>
                </a:rPr>
                <a:t>Note: Do not put a period at the end of the note or the source</a:t>
              </a:r>
            </a:p>
            <a:p>
              <a:r>
                <a:rPr lang="en-IN" sz="1000" dirty="0">
                  <a:solidFill>
                    <a:schemeClr val="bg1">
                      <a:lumMod val="50000"/>
                    </a:schemeClr>
                  </a:solidFill>
                  <a:latin typeface="Trebuchet MS" panose="020B0603020202020204" pitchFamily="34" charset="0"/>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schemeClr val="bg1">
                    <a:lumMod val="50000"/>
                  </a:schemeClr>
                </a:solidFill>
                <a:effectLst/>
                <a:uLnTx/>
                <a:uFillTx/>
                <a:latin typeface="Trebuchet MS" panose="020B0603020202020204" pitchFamily="34" charset="0"/>
                <a:ea typeface="+mn-ea"/>
                <a:cs typeface="+mn-cs"/>
                <a:sym typeface="Trebuchet MS" panose="020B0603020202020204" pitchFamily="34" charset="0"/>
              </a:endParaRP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5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8651327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4522"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custDataLst>
              <p:tags r:id="rId4"/>
            </p:custDataLst>
          </p:nvPr>
        </p:nvSpPr>
        <p:spPr>
          <a:xfrm>
            <a:off x="2176156" y="4552779"/>
            <a:ext cx="1072246" cy="872423"/>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sym typeface="Trebuchet MS" panose="020B0603020202020204" pitchFamily="34" charset="0"/>
            </a:endParaRPr>
          </a:p>
        </p:txBody>
      </p:sp>
      <p:sp>
        <p:nvSpPr>
          <p:cNvPr id="11" name="Rectangle 10"/>
          <p:cNvSpPr/>
          <p:nvPr userDrawn="1">
            <p:custDataLst>
              <p:tags r:id="rId5"/>
            </p:custDataLst>
          </p:nvPr>
        </p:nvSpPr>
        <p:spPr>
          <a:xfrm>
            <a:off x="3424806" y="4552778"/>
            <a:ext cx="1617231" cy="1312672"/>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sym typeface="Trebuchet MS" panose="020B0603020202020204" pitchFamily="34" charset="0"/>
            </a:endParaRPr>
          </a:p>
        </p:txBody>
      </p:sp>
      <p:sp>
        <p:nvSpPr>
          <p:cNvPr id="12" name="Rectangle 11"/>
          <p:cNvSpPr/>
          <p:nvPr userDrawn="1">
            <p:custDataLst>
              <p:tags r:id="rId6"/>
            </p:custDataLst>
          </p:nvPr>
        </p:nvSpPr>
        <p:spPr>
          <a:xfrm>
            <a:off x="775385" y="914400"/>
            <a:ext cx="4266652" cy="3494377"/>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dirty="0">
                <a:solidFill>
                  <a:srgbClr val="FFFFFF">
                    <a:lumMod val="100000"/>
                  </a:srgb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199740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5546"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custDataLst>
              <p:tags r:id="rId4"/>
            </p:custDataLst>
          </p:nvPr>
        </p:nvSpPr>
        <p:spPr>
          <a:xfrm>
            <a:off x="1089970" y="2668041"/>
            <a:ext cx="10012800" cy="3201026"/>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dirty="0">
              <a:solidFill>
                <a:srgbClr val="FFFFFF">
                  <a:lumMod val="100000"/>
                </a:srgbClr>
              </a:solidFill>
              <a:latin typeface="Trebuchet MS" panose="020B0603020202020204" pitchFamily="34" charset="0"/>
              <a:sym typeface="Trebuchet MS" panose="020B0603020202020204" pitchFamily="34" charset="0"/>
            </a:endParaRPr>
          </a:p>
        </p:txBody>
      </p:sp>
      <p:sp>
        <p:nvSpPr>
          <p:cNvPr id="11" name="Rectangle 10"/>
          <p:cNvSpPr/>
          <p:nvPr userDrawn="1">
            <p:custDataLst>
              <p:tags r:id="rId5"/>
            </p:custDataLst>
          </p:nvPr>
        </p:nvSpPr>
        <p:spPr>
          <a:xfrm>
            <a:off x="1089971" y="1457802"/>
            <a:ext cx="1128806" cy="918000"/>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a:solidFill>
                <a:srgbClr val="FFFFFF">
                  <a:lumMod val="100000"/>
                </a:srgb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105878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6570"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7" name="Page"/>
          <p:cNvSpPr txBox="1"/>
          <p:nvPr userDrawn="1"/>
        </p:nvSpPr>
        <p:spPr bwMode="white">
          <a:xfrm>
            <a:off x="11019324" y="6404400"/>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cxnSp>
        <p:nvCxnSpPr>
          <p:cNvPr id="10" name="Straight Connector 9"/>
          <p:cNvCxnSpPr/>
          <p:nvPr userDrawn="1">
            <p:custDataLst>
              <p:tags r:id="rId4"/>
            </p:custDataLst>
          </p:nvPr>
        </p:nvCxnSpPr>
        <p:spPr>
          <a:xfrm>
            <a:off x="773723" y="1206001"/>
            <a:ext cx="11418277" cy="0"/>
          </a:xfrm>
          <a:prstGeom prst="line">
            <a:avLst/>
          </a:prstGeom>
          <a:noFill/>
          <a:ln w="9525" cap="rnd" cmpd="sng" algn="ctr">
            <a:solidFill>
              <a:srgbClr val="FFFFFF"/>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11" name="Rectangle 10"/>
          <p:cNvSpPr/>
          <p:nvPr userDrawn="1">
            <p:custDataLst>
              <p:tags r:id="rId5"/>
            </p:custDataLst>
          </p:nvPr>
        </p:nvSpPr>
        <p:spPr>
          <a:xfrm>
            <a:off x="773723" y="622800"/>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800">
                <a:solidFill>
                  <a:schemeClr val="bg1">
                    <a:lumMod val="100000"/>
                  </a:scheme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1714654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75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6" name="PanelGray"/>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5"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6"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800" dirty="0">
                <a:solidFill>
                  <a:schemeClr val="bg1"/>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59312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8618"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90" y="1590"/>
                        <a:ext cx="1586" cy="1587"/>
                      </a:xfrm>
                      <a:prstGeom prst="rect">
                        <a:avLst/>
                      </a:prstGeom>
                    </p:spPr>
                  </p:pic>
                </p:oleObj>
              </mc:Fallback>
            </mc:AlternateContent>
          </a:graphicData>
        </a:graphic>
      </p:graphicFrame>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custDataLst>
              <p:tags r:id="rId4"/>
            </p:custDataLst>
          </p:nvPr>
        </p:nvSpPr>
        <p:spPr>
          <a:xfrm>
            <a:off x="2176153" y="4552779"/>
            <a:ext cx="1072246" cy="872423"/>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sym typeface="Trebuchet MS" panose="020B0603020202020204" pitchFamily="34" charset="0"/>
            </a:endParaRPr>
          </a:p>
        </p:txBody>
      </p:sp>
      <p:sp>
        <p:nvSpPr>
          <p:cNvPr id="9" name="Rectangle 8"/>
          <p:cNvSpPr/>
          <p:nvPr userDrawn="1">
            <p:custDataLst>
              <p:tags r:id="rId5"/>
            </p:custDataLst>
          </p:nvPr>
        </p:nvSpPr>
        <p:spPr>
          <a:xfrm>
            <a:off x="3424804" y="4552778"/>
            <a:ext cx="1617231" cy="1312672"/>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sym typeface="Trebuchet MS" panose="020B0603020202020204" pitchFamily="34" charset="0"/>
            </a:endParaRPr>
          </a:p>
        </p:txBody>
      </p:sp>
      <p:sp>
        <p:nvSpPr>
          <p:cNvPr id="10" name="Rectangle 9"/>
          <p:cNvSpPr/>
          <p:nvPr userDrawn="1">
            <p:custDataLst>
              <p:tags r:id="rId6"/>
            </p:custDataLst>
          </p:nvPr>
        </p:nvSpPr>
        <p:spPr>
          <a:xfrm>
            <a:off x="775382" y="914400"/>
            <a:ext cx="4266652" cy="3494377"/>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0">
                <a:solidFill>
                  <a:schemeClr val="accent4">
                    <a:lumMod val="100000"/>
                  </a:scheme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545387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9642"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custDataLst>
              <p:tags r:id="rId4"/>
            </p:custDataLst>
          </p:nvPr>
        </p:nvSpPr>
        <p:spPr>
          <a:xfrm>
            <a:off x="1089967" y="2668041"/>
            <a:ext cx="10012800" cy="3201026"/>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0" dirty="0">
              <a:solidFill>
                <a:schemeClr val="accent4">
                  <a:lumMod val="100000"/>
                </a:schemeClr>
              </a:solidFill>
              <a:latin typeface="Trebuchet MS" panose="020B0603020202020204" pitchFamily="34" charset="0"/>
              <a:sym typeface="Trebuchet MS" panose="020B0603020202020204" pitchFamily="34" charset="0"/>
            </a:endParaRPr>
          </a:p>
        </p:txBody>
      </p:sp>
      <p:sp>
        <p:nvSpPr>
          <p:cNvPr id="9" name="Rectangle 8"/>
          <p:cNvSpPr/>
          <p:nvPr userDrawn="1">
            <p:custDataLst>
              <p:tags r:id="rId5"/>
            </p:custDataLst>
          </p:nvPr>
        </p:nvSpPr>
        <p:spPr>
          <a:xfrm>
            <a:off x="1089967" y="1457802"/>
            <a:ext cx="1128806" cy="918000"/>
          </a:xfrm>
          <a:prstGeom prst="rect">
            <a:avLst/>
          </a:prstGeom>
          <a:noFill/>
          <a:ln w="9525" cap="rnd" cmpd="sng" algn="ctr">
            <a:solidFill>
              <a:schemeClr val="accent4"/>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a:solidFill>
                <a:schemeClr val="tx1">
                  <a:lumMod val="100000"/>
                </a:schemeClr>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334786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70666"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0" y="1590"/>
                        <a:ext cx="1586" cy="1587"/>
                      </a:xfrm>
                      <a:prstGeom prst="rect">
                        <a:avLst/>
                      </a:prstGeom>
                    </p:spPr>
                  </p:pic>
                </p:oleObj>
              </mc:Fallback>
            </mc:AlternateContent>
          </a:graphicData>
        </a:graphic>
      </p:graphicFrame>
      <p:sp>
        <p:nvSpPr>
          <p:cNvPr id="5"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cxnSp>
        <p:nvCxnSpPr>
          <p:cNvPr id="8" name="Straight Connector 7"/>
          <p:cNvCxnSpPr/>
          <p:nvPr userDrawn="1">
            <p:custDataLst>
              <p:tags r:id="rId4"/>
            </p:custDataLst>
          </p:nvPr>
        </p:nvCxnSpPr>
        <p:spPr>
          <a:xfrm>
            <a:off x="773723" y="1205999"/>
            <a:ext cx="11418277" cy="0"/>
          </a:xfrm>
          <a:prstGeom prst="line">
            <a:avLst/>
          </a:prstGeom>
          <a:noFill/>
          <a:ln w="9525" cap="rnd" cmpd="sng" algn="ctr">
            <a:solidFill>
              <a:schemeClr val="accent4"/>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9" name="Rectangle 8"/>
          <p:cNvSpPr/>
          <p:nvPr userDrawn="1">
            <p:custDataLst>
              <p:tags r:id="rId5"/>
            </p:custDataLst>
          </p:nvPr>
        </p:nvSpPr>
        <p:spPr>
          <a:xfrm>
            <a:off x="773723" y="622799"/>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400" dirty="0">
                <a:solidFill>
                  <a:schemeClr val="accent4">
                    <a:lumMod val="100000"/>
                  </a:schemeClr>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32988724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716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21856" y="0"/>
            <a:ext cx="513170" cy="6858000"/>
          </a:xfrm>
          <a:prstGeom prst="rect">
            <a:avLst/>
          </a:prstGeom>
        </p:spPr>
      </p:pic>
      <p:sp>
        <p:nvSpPr>
          <p:cNvPr id="65" name="PanelWhite"/>
          <p:cNvSpPr/>
          <p:nvPr userDrawn="1"/>
        </p:nvSpPr>
        <p:spPr bwMode="white">
          <a:xfrm>
            <a:off x="4136371"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28"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29"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lumMod val="50000"/>
                  </a:schemeClr>
                </a:solidFill>
                <a:latin typeface="Trebuchet MS" panose="020B0603020202020204" pitchFamily="34" charset="0"/>
                <a:sym typeface="Trebuchet MS" panose="020B0603020202020204" pitchFamily="34" charset="0"/>
              </a:rPr>
              <a:t>Guia analise ex-ante_09022018.pptx</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400" dirty="0">
                <a:solidFill>
                  <a:schemeClr val="bg1"/>
                </a:solidFill>
                <a:latin typeface="Trebuchet MS" panose="020B0603020202020204" pitchFamily="34" charset="0"/>
                <a:sym typeface="Trebuchet MS" panose="020B0603020202020204" pitchFamily="34" charset="0"/>
              </a:rPr>
              <a:t>Agenda</a:t>
            </a:r>
          </a:p>
        </p:txBody>
      </p:sp>
    </p:spTree>
    <p:extLst>
      <p:ext uri="{BB962C8B-B14F-4D97-AF65-F5344CB8AC3E}">
        <p14:creationId xmlns:p14="http://schemas.microsoft.com/office/powerpoint/2010/main" val="19644587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727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0" y="1590"/>
                        <a:ext cx="1586" cy="1587"/>
                      </a:xfrm>
                      <a:prstGeom prst="rect">
                        <a:avLst/>
                      </a:prstGeom>
                    </p:spPr>
                  </p:pic>
                </p:oleObj>
              </mc:Fallback>
            </mc:AlternateContent>
          </a:graphicData>
        </a:graphic>
      </p:graphicFrame>
      <p:pic>
        <p:nvPicPr>
          <p:cNvPr id="62" name="Shadow"/>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24618" y="3594368"/>
            <a:ext cx="1680308" cy="3382962"/>
          </a:xfrm>
          <a:prstGeom prst="rect">
            <a:avLst/>
          </a:prstGeom>
          <a:noFill/>
          <a:extLst>
            <a:ext uri="{909E8E84-426E-40DD-AFC4-6F175D3DCCD1}">
              <a14:hiddenFill xmlns:a14="http://schemas.microsoft.com/office/drawing/2010/main">
                <a:solidFill>
                  <a:srgbClr val="FFFFFF"/>
                </a:solidFill>
              </a14:hiddenFill>
            </a:ext>
          </a:extLst>
        </p:spPr>
      </p:pic>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Trebuchet MS" panose="020B0603020202020204" pitchFamily="34" charset="0"/>
              <a:sym typeface="Trebuchet MS" panose="020B0603020202020204" pitchFamily="34" charset="0"/>
            </a:endParaRPr>
          </a:p>
        </p:txBody>
      </p:sp>
      <p:sp>
        <p:nvSpPr>
          <p:cNvPr id="19"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24" name="Copyright" hidden="1"/>
          <p:cNvSpPr txBox="1"/>
          <p:nvPr userDrawn="1"/>
        </p:nvSpPr>
        <p:spPr>
          <a:xfrm rot="16200000">
            <a:off x="9453104" y="3922498"/>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20" name="TextBox 19"/>
          <p:cNvSpPr txBox="1"/>
          <p:nvPr userDrawn="1"/>
        </p:nvSpPr>
        <p:spPr>
          <a:xfrm>
            <a:off x="761449" y="2711241"/>
            <a:ext cx="2738215" cy="1435521"/>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0" dirty="0">
                <a:solidFill>
                  <a:schemeClr val="tx2"/>
                </a:solidFill>
                <a:latin typeface="Trebuchet MS" panose="020B0603020202020204" pitchFamily="34" charset="0"/>
                <a:sym typeface="Trebuchet MS" panose="020B0603020202020204" pitchFamily="34" charset="0"/>
              </a:rPr>
              <a:t>Table of contents</a:t>
            </a:r>
          </a:p>
        </p:txBody>
      </p:sp>
      <p:sp>
        <p:nvSpPr>
          <p:cNvPr id="10" name="FooterSimple" hidden="1"/>
          <p:cNvSpPr txBox="1"/>
          <p:nvPr userDrawn="1">
            <p:custDataLst>
              <p:tags r:id="rId3"/>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pt-BR" sz="700">
                <a:solidFill>
                  <a:schemeClr val="bg1"/>
                </a:solidFill>
                <a:latin typeface="Trebuchet MS" panose="020B0603020202020204" pitchFamily="34" charset="0"/>
                <a:sym typeface="Trebuchet MS" panose="020B0603020202020204" pitchFamily="34" charset="0"/>
              </a:rPr>
              <a:t>Guia analise ex-ante_09022018.pptx</a:t>
            </a:r>
            <a:endParaRPr lang="en-US" sz="700" dirty="0">
              <a:solidFill>
                <a:schemeClr val="bg1"/>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1561899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Date Placeholder 4"/>
          <p:cNvSpPr>
            <a:spLocks noGrp="1"/>
          </p:cNvSpPr>
          <p:nvPr>
            <p:ph type="dt" sz="half" idx="10"/>
          </p:nvPr>
        </p:nvSpPr>
        <p:spPr/>
        <p:txBody>
          <a:bodyPr/>
          <a:lstStyle/>
          <a:p>
            <a:fld id="{F0E51C7C-CEA3-4CAA-BE4B-344879E7C377}" type="datetimeFigureOut">
              <a:rPr lang="de-DE" smtClean="0"/>
              <a:t>21.11.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1095267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pt-BR"/>
              <a:t>Clique no ícone para adicionar uma imagem</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Editar estilos de texto Mestre</a:t>
            </a:r>
          </a:p>
        </p:txBody>
      </p:sp>
      <p:sp>
        <p:nvSpPr>
          <p:cNvPr id="5" name="Date Placeholder 4"/>
          <p:cNvSpPr>
            <a:spLocks noGrp="1"/>
          </p:cNvSpPr>
          <p:nvPr>
            <p:ph type="dt" sz="half" idx="10"/>
          </p:nvPr>
        </p:nvSpPr>
        <p:spPr/>
        <p:txBody>
          <a:bodyPr/>
          <a:lstStyle/>
          <a:p>
            <a:fld id="{F0E51C7C-CEA3-4CAA-BE4B-344879E7C377}" type="datetimeFigureOut">
              <a:rPr lang="de-DE" smtClean="0"/>
              <a:t>21.11.2019</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754FE2FE-B55E-4328-8F5C-2CEB8781A47B}" type="slidenum">
              <a:rPr lang="de-DE" smtClean="0"/>
              <a:t>‹nº›</a:t>
            </a:fld>
            <a:endParaRPr lang="de-DE"/>
          </a:p>
        </p:txBody>
      </p:sp>
    </p:spTree>
    <p:extLst>
      <p:ext uri="{BB962C8B-B14F-4D97-AF65-F5344CB8AC3E}">
        <p14:creationId xmlns:p14="http://schemas.microsoft.com/office/powerpoint/2010/main" val="31385858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0.xml"/><Relationship Id="rId21" Type="http://schemas.openxmlformats.org/officeDocument/2006/relationships/slideLayout" Target="../slideLayouts/slideLayout35.xml"/><Relationship Id="rId42" Type="http://schemas.openxmlformats.org/officeDocument/2006/relationships/slideLayout" Target="../slideLayouts/slideLayout56.xml"/><Relationship Id="rId47" Type="http://schemas.openxmlformats.org/officeDocument/2006/relationships/slideLayout" Target="../slideLayouts/slideLayout61.xml"/><Relationship Id="rId63" Type="http://schemas.openxmlformats.org/officeDocument/2006/relationships/slideLayout" Target="../slideLayouts/slideLayout77.xml"/><Relationship Id="rId68" Type="http://schemas.openxmlformats.org/officeDocument/2006/relationships/tags" Target="../tags/tag3.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slideLayout" Target="../slideLayouts/slideLayout43.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37" Type="http://schemas.openxmlformats.org/officeDocument/2006/relationships/slideLayout" Target="../slideLayouts/slideLayout51.xml"/><Relationship Id="rId40" Type="http://schemas.openxmlformats.org/officeDocument/2006/relationships/slideLayout" Target="../slideLayouts/slideLayout54.xml"/><Relationship Id="rId45" Type="http://schemas.openxmlformats.org/officeDocument/2006/relationships/slideLayout" Target="../slideLayouts/slideLayout59.xml"/><Relationship Id="rId53" Type="http://schemas.openxmlformats.org/officeDocument/2006/relationships/slideLayout" Target="../slideLayouts/slideLayout67.xml"/><Relationship Id="rId58" Type="http://schemas.openxmlformats.org/officeDocument/2006/relationships/slideLayout" Target="../slideLayouts/slideLayout72.xml"/><Relationship Id="rId66" Type="http://schemas.openxmlformats.org/officeDocument/2006/relationships/theme" Target="../theme/theme2.xml"/><Relationship Id="rId5" Type="http://schemas.openxmlformats.org/officeDocument/2006/relationships/slideLayout" Target="../slideLayouts/slideLayout19.xml"/><Relationship Id="rId61" Type="http://schemas.openxmlformats.org/officeDocument/2006/relationships/slideLayout" Target="../slideLayouts/slideLayout75.xml"/><Relationship Id="rId19" Type="http://schemas.openxmlformats.org/officeDocument/2006/relationships/slideLayout" Target="../slideLayouts/slideLayout3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35" Type="http://schemas.openxmlformats.org/officeDocument/2006/relationships/slideLayout" Target="../slideLayouts/slideLayout49.xml"/><Relationship Id="rId43" Type="http://schemas.openxmlformats.org/officeDocument/2006/relationships/slideLayout" Target="../slideLayouts/slideLayout57.xml"/><Relationship Id="rId48" Type="http://schemas.openxmlformats.org/officeDocument/2006/relationships/slideLayout" Target="../slideLayouts/slideLayout62.xml"/><Relationship Id="rId56" Type="http://schemas.openxmlformats.org/officeDocument/2006/relationships/slideLayout" Target="../slideLayouts/slideLayout70.xml"/><Relationship Id="rId64" Type="http://schemas.openxmlformats.org/officeDocument/2006/relationships/slideLayout" Target="../slideLayouts/slideLayout78.xml"/><Relationship Id="rId69" Type="http://schemas.openxmlformats.org/officeDocument/2006/relationships/oleObject" Target="../embeddings/oleObject2.bin"/><Relationship Id="rId8" Type="http://schemas.openxmlformats.org/officeDocument/2006/relationships/slideLayout" Target="../slideLayouts/slideLayout22.xml"/><Relationship Id="rId51" Type="http://schemas.openxmlformats.org/officeDocument/2006/relationships/slideLayout" Target="../slideLayouts/slideLayout65.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slideLayout" Target="../slideLayouts/slideLayout47.xml"/><Relationship Id="rId38" Type="http://schemas.openxmlformats.org/officeDocument/2006/relationships/slideLayout" Target="../slideLayouts/slideLayout52.xml"/><Relationship Id="rId46" Type="http://schemas.openxmlformats.org/officeDocument/2006/relationships/slideLayout" Target="../slideLayouts/slideLayout60.xml"/><Relationship Id="rId59" Type="http://schemas.openxmlformats.org/officeDocument/2006/relationships/slideLayout" Target="../slideLayouts/slideLayout73.xml"/><Relationship Id="rId67" Type="http://schemas.openxmlformats.org/officeDocument/2006/relationships/vmlDrawing" Target="../drawings/vmlDrawing2.vml"/><Relationship Id="rId20" Type="http://schemas.openxmlformats.org/officeDocument/2006/relationships/slideLayout" Target="../slideLayouts/slideLayout34.xml"/><Relationship Id="rId41" Type="http://schemas.openxmlformats.org/officeDocument/2006/relationships/slideLayout" Target="../slideLayouts/slideLayout55.xml"/><Relationship Id="rId54" Type="http://schemas.openxmlformats.org/officeDocument/2006/relationships/slideLayout" Target="../slideLayouts/slideLayout68.xml"/><Relationship Id="rId62" Type="http://schemas.openxmlformats.org/officeDocument/2006/relationships/slideLayout" Target="../slideLayouts/slideLayout76.xml"/><Relationship Id="rId70" Type="http://schemas.openxmlformats.org/officeDocument/2006/relationships/image" Target="../media/image5.emf"/><Relationship Id="rId1" Type="http://schemas.openxmlformats.org/officeDocument/2006/relationships/slideLayout" Target="../slideLayouts/slideLayout15.xml"/><Relationship Id="rId6" Type="http://schemas.openxmlformats.org/officeDocument/2006/relationships/slideLayout" Target="../slideLayouts/slideLayout20.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36" Type="http://schemas.openxmlformats.org/officeDocument/2006/relationships/slideLayout" Target="../slideLayouts/slideLayout50.xml"/><Relationship Id="rId49" Type="http://schemas.openxmlformats.org/officeDocument/2006/relationships/slideLayout" Target="../slideLayouts/slideLayout63.xml"/><Relationship Id="rId57" Type="http://schemas.openxmlformats.org/officeDocument/2006/relationships/slideLayout" Target="../slideLayouts/slideLayout71.xml"/><Relationship Id="rId10" Type="http://schemas.openxmlformats.org/officeDocument/2006/relationships/slideLayout" Target="../slideLayouts/slideLayout24.xml"/><Relationship Id="rId31" Type="http://schemas.openxmlformats.org/officeDocument/2006/relationships/slideLayout" Target="../slideLayouts/slideLayout45.xml"/><Relationship Id="rId44" Type="http://schemas.openxmlformats.org/officeDocument/2006/relationships/slideLayout" Target="../slideLayouts/slideLayout58.xml"/><Relationship Id="rId52" Type="http://schemas.openxmlformats.org/officeDocument/2006/relationships/slideLayout" Target="../slideLayouts/slideLayout66.xml"/><Relationship Id="rId60" Type="http://schemas.openxmlformats.org/officeDocument/2006/relationships/slideLayout" Target="../slideLayouts/slideLayout74.xml"/><Relationship Id="rId65" Type="http://schemas.openxmlformats.org/officeDocument/2006/relationships/slideLayout" Target="../slideLayouts/slideLayout79.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9" Type="http://schemas.openxmlformats.org/officeDocument/2006/relationships/slideLayout" Target="../slideLayouts/slideLayout53.xml"/><Relationship Id="rId34" Type="http://schemas.openxmlformats.org/officeDocument/2006/relationships/slideLayout" Target="../slideLayouts/slideLayout48.xml"/><Relationship Id="rId50" Type="http://schemas.openxmlformats.org/officeDocument/2006/relationships/slideLayout" Target="../slideLayouts/slideLayout64.xml"/><Relationship Id="rId55"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0E51C7C-CEA3-4CAA-BE4B-344879E7C377}" type="datetimeFigureOut">
              <a:rPr lang="de-DE" smtClean="0"/>
              <a:t>21.11.2019</a:t>
            </a:fld>
            <a:endParaRPr lang="de-D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4FE2FE-B55E-4328-8F5C-2CEB8781A47B}" type="slidenum">
              <a:rPr lang="de-DE" smtClean="0"/>
              <a:t>‹nº›</a:t>
            </a:fld>
            <a:endParaRPr lang="de-DE"/>
          </a:p>
        </p:txBody>
      </p:sp>
      <p:pic>
        <p:nvPicPr>
          <p:cNvPr id="7" name="Imagem 6">
            <a:extLst>
              <a:ext uri="{FF2B5EF4-FFF2-40B4-BE49-F238E27FC236}">
                <a16:creationId xmlns:a16="http://schemas.microsoft.com/office/drawing/2014/main" id="{4F3AE08D-54EE-4809-80DA-6EAC549A8131}"/>
              </a:ext>
            </a:extLst>
          </p:cNvPr>
          <p:cNvPicPr>
            <a:picLocks noChangeAspect="1"/>
          </p:cNvPicPr>
          <p:nvPr userDrawn="1"/>
        </p:nvPicPr>
        <p:blipFill>
          <a:blip r:embed="rId16"/>
          <a:stretch>
            <a:fillRect/>
          </a:stretch>
        </p:blipFill>
        <p:spPr>
          <a:xfrm>
            <a:off x="0" y="0"/>
            <a:ext cx="12182475" cy="933450"/>
          </a:xfrm>
          <a:prstGeom prst="rect">
            <a:avLst/>
          </a:prstGeom>
        </p:spPr>
      </p:pic>
    </p:spTree>
    <p:extLst>
      <p:ext uri="{BB962C8B-B14F-4D97-AF65-F5344CB8AC3E}">
        <p14:creationId xmlns:p14="http://schemas.microsoft.com/office/powerpoint/2010/main" val="299656522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5" r:id="rId13"/>
    <p:sldLayoutId id="214748367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nvPr>
        </p:nvGraphicFramePr>
        <p:xfrm>
          <a:off x="1590" y="1590"/>
          <a:ext cx="1586" cy="1587"/>
        </p:xfrm>
        <a:graphic>
          <a:graphicData uri="http://schemas.openxmlformats.org/presentationml/2006/ole">
            <mc:AlternateContent xmlns:mc="http://schemas.openxmlformats.org/markup-compatibility/2006">
              <mc:Choice xmlns:v="urn:schemas-microsoft-com:vml" Requires="v">
                <p:oleObj spid="_x0000_s6154" name="think-cell Slide" r:id="rId69" imgW="270" imgH="270" progId="TCLayout.ActiveDocument.1">
                  <p:embed/>
                </p:oleObj>
              </mc:Choice>
              <mc:Fallback>
                <p:oleObj name="think-cell Slide" r:id="rId69" imgW="270" imgH="270" progId="TCLayout.ActiveDocument.1">
                  <p:embed/>
                  <p:pic>
                    <p:nvPicPr>
                      <p:cNvPr id="2" name="Object 1" hidden="1"/>
                      <p:cNvPicPr/>
                      <p:nvPr/>
                    </p:nvPicPr>
                    <p:blipFill>
                      <a:blip r:embed="rId70"/>
                      <a:stretch>
                        <a:fillRect/>
                      </a:stretch>
                    </p:blipFill>
                    <p:spPr>
                      <a:xfrm>
                        <a:off x="1590" y="1590"/>
                        <a:ext cx="1586" cy="1587"/>
                      </a:xfrm>
                      <a:prstGeom prst="rect">
                        <a:avLst/>
                      </a:prstGeom>
                    </p:spPr>
                  </p:pic>
                </p:oleObj>
              </mc:Fallback>
            </mc:AlternateContent>
          </a:graphicData>
        </a:graphic>
      </p:graphicFrame>
      <p:sp>
        <p:nvSpPr>
          <p:cNvPr id="12" name="Page"/>
          <p:cNvSpPr txBox="1"/>
          <p:nvPr userDrawn="1"/>
        </p:nvSpPr>
        <p:spPr>
          <a:xfrm>
            <a:off x="11019324" y="6405036"/>
            <a:ext cx="381001"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º›</a:t>
            </a:fld>
            <a:endParaRPr lang="en-US" sz="1000" kern="1200" dirty="0">
              <a:solidFill>
                <a:schemeClr val="bg1">
                  <a:lumMod val="50000"/>
                </a:schemeClr>
              </a:solidFill>
              <a:latin typeface="Trebuchet MS" panose="020B0603020202020204" pitchFamily="34" charset="0"/>
              <a:ea typeface="+mn-ea"/>
              <a:cs typeface="+mn-cs"/>
              <a:sym typeface="Trebuchet MS" panose="020B0603020202020204" pitchFamily="34" charset="0"/>
            </a:endParaRPr>
          </a:p>
        </p:txBody>
      </p:sp>
      <p:sp>
        <p:nvSpPr>
          <p:cNvPr id="11" name="Date Placeholder 3"/>
          <p:cNvSpPr>
            <a:spLocks noGrp="1"/>
          </p:cNvSpPr>
          <p:nvPr>
            <p:ph type="dt" sz="half" idx="2"/>
          </p:nvPr>
        </p:nvSpPr>
        <p:spPr>
          <a:xfrm>
            <a:off x="9738831" y="6405036"/>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p>
        </p:txBody>
      </p:sp>
      <p:sp>
        <p:nvSpPr>
          <p:cNvPr id="4" name="Text Placeholder 3"/>
          <p:cNvSpPr>
            <a:spLocks noGrp="1"/>
          </p:cNvSpPr>
          <p:nvPr>
            <p:ph type="body" idx="1"/>
          </p:nvPr>
        </p:nvSpPr>
        <p:spPr>
          <a:xfrm>
            <a:off x="775384" y="2080800"/>
            <a:ext cx="10642708" cy="3787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9" name="Title Placeholder 1"/>
          <p:cNvSpPr>
            <a:spLocks noGrp="1"/>
          </p:cNvSpPr>
          <p:nvPr>
            <p:ph type="title"/>
          </p:nvPr>
        </p:nvSpPr>
        <p:spPr>
          <a:xfrm>
            <a:off x="775384" y="622801"/>
            <a:ext cx="10642708" cy="332399"/>
          </a:xfrm>
          <a:prstGeom prst="rect">
            <a:avLst/>
          </a:prstGeom>
        </p:spPr>
        <p:txBody>
          <a:bodyPr vert="horz" wrap="square" lIns="0" tIns="0" rIns="0" bIns="0" rtlCol="0" anchor="t">
            <a:spAutoFit/>
          </a:bodyPr>
          <a:lstStyle/>
          <a:p>
            <a:r>
              <a:rPr lang="en-US" dirty="0"/>
              <a:t>Click to add title</a:t>
            </a:r>
          </a:p>
        </p:txBody>
      </p:sp>
    </p:spTree>
    <p:extLst>
      <p:ext uri="{BB962C8B-B14F-4D97-AF65-F5344CB8AC3E}">
        <p14:creationId xmlns:p14="http://schemas.microsoft.com/office/powerpoint/2010/main" val="213241539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 id="2147483719" r:id="rId42"/>
    <p:sldLayoutId id="2147483720" r:id="rId43"/>
    <p:sldLayoutId id="2147483721" r:id="rId44"/>
    <p:sldLayoutId id="2147483722" r:id="rId45"/>
    <p:sldLayoutId id="2147483723" r:id="rId46"/>
    <p:sldLayoutId id="2147483724" r:id="rId47"/>
    <p:sldLayoutId id="2147483725" r:id="rId48"/>
    <p:sldLayoutId id="2147483726" r:id="rId49"/>
    <p:sldLayoutId id="2147483727" r:id="rId50"/>
    <p:sldLayoutId id="2147483728" r:id="rId51"/>
    <p:sldLayoutId id="2147483729" r:id="rId52"/>
    <p:sldLayoutId id="2147483730" r:id="rId53"/>
    <p:sldLayoutId id="2147483731" r:id="rId54"/>
    <p:sldLayoutId id="2147483732" r:id="rId55"/>
    <p:sldLayoutId id="2147483733" r:id="rId56"/>
    <p:sldLayoutId id="2147483734" r:id="rId57"/>
    <p:sldLayoutId id="2147483735" r:id="rId58"/>
    <p:sldLayoutId id="2147483736" r:id="rId59"/>
    <p:sldLayoutId id="2147483737" r:id="rId60"/>
    <p:sldLayoutId id="2147483738" r:id="rId61"/>
    <p:sldLayoutId id="2147483739" r:id="rId62"/>
    <p:sldLayoutId id="2147483740" r:id="rId63"/>
    <p:sldLayoutId id="2147483741" r:id="rId64"/>
    <p:sldLayoutId id="2147483742"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chart" Target="../charts/chart13.xml"/><Relationship Id="rId7" Type="http://schemas.openxmlformats.org/officeDocument/2006/relationships/diagramQuickStyle" Target="../diagrams/quickStyle8.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chart" Target="../charts/chart14.xml"/><Relationship Id="rId9" Type="http://schemas.microsoft.com/office/2007/relationships/diagramDrawing" Target="../diagrams/drawing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7.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7.xml"/><Relationship Id="rId7" Type="http://schemas.openxmlformats.org/officeDocument/2006/relationships/image" Target="../media/image22.png"/><Relationship Id="rId2" Type="http://schemas.openxmlformats.org/officeDocument/2006/relationships/tags" Target="../tags/tag140.xml"/><Relationship Id="rId1" Type="http://schemas.openxmlformats.org/officeDocument/2006/relationships/vmlDrawing" Target="../drawings/vmlDrawing68.vml"/><Relationship Id="rId6" Type="http://schemas.openxmlformats.org/officeDocument/2006/relationships/image" Target="../media/image4.emf"/><Relationship Id="rId5" Type="http://schemas.openxmlformats.org/officeDocument/2006/relationships/oleObject" Target="../embeddings/oleObject67.bin"/><Relationship Id="rId10" Type="http://schemas.openxmlformats.org/officeDocument/2006/relationships/image" Target="../media/image25.png"/><Relationship Id="rId4" Type="http://schemas.openxmlformats.org/officeDocument/2006/relationships/notesSlide" Target="../notesSlides/notesSlide11.xml"/><Relationship Id="rId9" Type="http://schemas.openxmlformats.org/officeDocument/2006/relationships/image" Target="../media/image24.emf"/></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4.emf"/><Relationship Id="rId2" Type="http://schemas.openxmlformats.org/officeDocument/2006/relationships/tags" Target="../tags/tag141.xml"/><Relationship Id="rId1" Type="http://schemas.openxmlformats.org/officeDocument/2006/relationships/vmlDrawing" Target="../drawings/vmlDrawing69.vml"/><Relationship Id="rId6" Type="http://schemas.openxmlformats.org/officeDocument/2006/relationships/image" Target="../media/image4.emf"/><Relationship Id="rId5" Type="http://schemas.openxmlformats.org/officeDocument/2006/relationships/oleObject" Target="../embeddings/oleObject67.bin"/><Relationship Id="rId4"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slideLayout" Target="../slideLayouts/slideLayout7.xml"/><Relationship Id="rId7" Type="http://schemas.openxmlformats.org/officeDocument/2006/relationships/diagramData" Target="../diagrams/data10.xml"/><Relationship Id="rId2" Type="http://schemas.openxmlformats.org/officeDocument/2006/relationships/tags" Target="../tags/tag142.xml"/><Relationship Id="rId1" Type="http://schemas.openxmlformats.org/officeDocument/2006/relationships/vmlDrawing" Target="../drawings/vmlDrawing70.vml"/><Relationship Id="rId6" Type="http://schemas.openxmlformats.org/officeDocument/2006/relationships/image" Target="../media/image4.emf"/><Relationship Id="rId11" Type="http://schemas.microsoft.com/office/2007/relationships/diagramDrawing" Target="../diagrams/drawing10.xml"/><Relationship Id="rId5" Type="http://schemas.openxmlformats.org/officeDocument/2006/relationships/oleObject" Target="../embeddings/oleObject67.bin"/><Relationship Id="rId10" Type="http://schemas.openxmlformats.org/officeDocument/2006/relationships/diagramColors" Target="../diagrams/colors10.xml"/><Relationship Id="rId4" Type="http://schemas.openxmlformats.org/officeDocument/2006/relationships/notesSlide" Target="../notesSlides/notesSlide13.xml"/><Relationship Id="rId9" Type="http://schemas.openxmlformats.org/officeDocument/2006/relationships/diagramQuickStyle" Target="../diagrams/quickStyl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3.xml"/><Relationship Id="rId1" Type="http://schemas.openxmlformats.org/officeDocument/2006/relationships/vmlDrawing" Target="../drawings/vmlDrawing71.vml"/><Relationship Id="rId6" Type="http://schemas.openxmlformats.org/officeDocument/2006/relationships/image" Target="../media/image4.emf"/><Relationship Id="rId5" Type="http://schemas.openxmlformats.org/officeDocument/2006/relationships/oleObject" Target="../embeddings/oleObject67.bin"/><Relationship Id="rId4"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4.xml"/><Relationship Id="rId1" Type="http://schemas.openxmlformats.org/officeDocument/2006/relationships/vmlDrawing" Target="../drawings/vmlDrawing72.vml"/><Relationship Id="rId6" Type="http://schemas.openxmlformats.org/officeDocument/2006/relationships/image" Target="../media/image26.emf"/><Relationship Id="rId5" Type="http://schemas.openxmlformats.org/officeDocument/2006/relationships/oleObject" Target="../embeddings/oleObject68.bin"/><Relationship Id="rId4"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repositorio.cgu.gov.br/handle/1/31015"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3.xml"/><Relationship Id="rId3" Type="http://schemas.openxmlformats.org/officeDocument/2006/relationships/chart" Target="../charts/chart2.xml"/><Relationship Id="rId7" Type="http://schemas.openxmlformats.org/officeDocument/2006/relationships/diagramData" Target="../diagrams/data3.xml"/><Relationship Id="rId2" Type="http://schemas.openxmlformats.org/officeDocument/2006/relationships/chart" Target="../charts/chart1.xml"/><Relationship Id="rId1" Type="http://schemas.openxmlformats.org/officeDocument/2006/relationships/slideLayout" Target="../slideLayouts/slideLayout2.xml"/><Relationship Id="rId6" Type="http://schemas.openxmlformats.org/officeDocument/2006/relationships/chart" Target="../charts/chart5.xml"/><Relationship Id="rId11" Type="http://schemas.microsoft.com/office/2007/relationships/diagramDrawing" Target="../diagrams/drawing3.xml"/><Relationship Id="rId5" Type="http://schemas.openxmlformats.org/officeDocument/2006/relationships/chart" Target="../charts/chart4.xml"/><Relationship Id="rId10" Type="http://schemas.openxmlformats.org/officeDocument/2006/relationships/diagramColors" Target="../diagrams/colors3.xml"/><Relationship Id="rId4" Type="http://schemas.openxmlformats.org/officeDocument/2006/relationships/chart" Target="../charts/chart3.xml"/><Relationship Id="rId9" Type="http://schemas.openxmlformats.org/officeDocument/2006/relationships/diagramQuickStyle" Target="../diagrams/quickStyle3.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4.xml"/><Relationship Id="rId13" Type="http://schemas.openxmlformats.org/officeDocument/2006/relationships/image" Target="../media/image15.emf"/><Relationship Id="rId3" Type="http://schemas.openxmlformats.org/officeDocument/2006/relationships/chart" Target="../charts/chart6.xml"/><Relationship Id="rId7" Type="http://schemas.openxmlformats.org/officeDocument/2006/relationships/chart" Target="../charts/chart10.xml"/><Relationship Id="rId12"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chart" Target="../charts/chart9.xml"/><Relationship Id="rId11" Type="http://schemas.openxmlformats.org/officeDocument/2006/relationships/diagramColors" Target="../diagrams/colors4.xml"/><Relationship Id="rId5" Type="http://schemas.openxmlformats.org/officeDocument/2006/relationships/chart" Target="../charts/chart8.xml"/><Relationship Id="rId10" Type="http://schemas.openxmlformats.org/officeDocument/2006/relationships/diagramQuickStyle" Target="../diagrams/quickStyle4.xml"/><Relationship Id="rId4" Type="http://schemas.openxmlformats.org/officeDocument/2006/relationships/chart" Target="../charts/chart7.xml"/><Relationship Id="rId9" Type="http://schemas.openxmlformats.org/officeDocument/2006/relationships/diagramLayout" Target="../diagrams/layout4.xml"/><Relationship Id="rId14" Type="http://schemas.openxmlformats.org/officeDocument/2006/relationships/image" Target="../media/image1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chart" Target="../charts/chart12.xml"/><Relationship Id="rId7" Type="http://schemas.openxmlformats.org/officeDocument/2006/relationships/diagramColors" Target="../diagrams/colors7.xml"/><Relationship Id="rId2" Type="http://schemas.openxmlformats.org/officeDocument/2006/relationships/chart" Target="../charts/chart11.xml"/><Relationship Id="rId1" Type="http://schemas.openxmlformats.org/officeDocument/2006/relationships/slideLayout" Target="../slideLayouts/slideLayout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 Id="rId9"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Subtítulo 4">
            <a:extLst>
              <a:ext uri="{FF2B5EF4-FFF2-40B4-BE49-F238E27FC236}">
                <a16:creationId xmlns:a16="http://schemas.microsoft.com/office/drawing/2014/main" id="{509303BC-9D3E-4217-B0DC-DBD7BCABFBC0}"/>
              </a:ext>
            </a:extLst>
          </p:cNvPr>
          <p:cNvSpPr txBox="1">
            <a:spLocks/>
          </p:cNvSpPr>
          <p:nvPr/>
        </p:nvSpPr>
        <p:spPr>
          <a:xfrm>
            <a:off x="210093" y="2104815"/>
            <a:ext cx="11496478" cy="252453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pt-BR" sz="4000" b="1" dirty="0">
                <a:solidFill>
                  <a:schemeClr val="accent1">
                    <a:lumMod val="50000"/>
                  </a:schemeClr>
                </a:solidFill>
                <a:latin typeface="Open Sans" panose="020B0606030504020204"/>
                <a:cs typeface="Gisha" panose="020B0502040204020203" pitchFamily="34" charset="-79"/>
              </a:rPr>
              <a:t>Governança e Gestão de Riscos no âmbito da Administração Pública Federal sob a ótica da Secretaria Federal de Controle Interno</a:t>
            </a:r>
          </a:p>
          <a:p>
            <a:pPr algn="ctr"/>
            <a:endParaRPr lang="pt-BR" sz="4000" dirty="0">
              <a:latin typeface="Open Sans" panose="020B0606030504020204"/>
              <a:cs typeface="Gisha" panose="020B0502040204020203" pitchFamily="34" charset="-79"/>
            </a:endParaRPr>
          </a:p>
        </p:txBody>
      </p:sp>
      <p:sp>
        <p:nvSpPr>
          <p:cNvPr id="5" name="Retângulo 2">
            <a:extLst>
              <a:ext uri="{FF2B5EF4-FFF2-40B4-BE49-F238E27FC236}">
                <a16:creationId xmlns:a16="http://schemas.microsoft.com/office/drawing/2014/main" id="{83349FC1-ED7A-4183-BAB7-3FD0F994F40D}"/>
              </a:ext>
            </a:extLst>
          </p:cNvPr>
          <p:cNvSpPr/>
          <p:nvPr/>
        </p:nvSpPr>
        <p:spPr>
          <a:xfrm>
            <a:off x="268548" y="5558221"/>
            <a:ext cx="10900930" cy="461665"/>
          </a:xfrm>
          <a:prstGeom prst="rect">
            <a:avLst/>
          </a:prstGeom>
        </p:spPr>
        <p:txBody>
          <a:bodyPr wrap="square">
            <a:spAutoFit/>
          </a:bodyPr>
          <a:lstStyle/>
          <a:p>
            <a:pPr algn="ctr"/>
            <a:r>
              <a:rPr lang="pt-BR" sz="2400" dirty="0">
                <a:solidFill>
                  <a:schemeClr val="tx2"/>
                </a:solidFill>
                <a:latin typeface="Open Sans" panose="020B0606030504020204" pitchFamily="34" charset="0"/>
                <a:ea typeface="Open Sans" panose="020B0606030504020204" pitchFamily="34" charset="0"/>
                <a:cs typeface="Open Sans" panose="020B0606030504020204" pitchFamily="34" charset="0"/>
              </a:rPr>
              <a:t>Brasília, 21 de novembro de 2019</a:t>
            </a:r>
          </a:p>
        </p:txBody>
      </p:sp>
    </p:spTree>
    <p:extLst>
      <p:ext uri="{BB962C8B-B14F-4D97-AF65-F5344CB8AC3E}">
        <p14:creationId xmlns:p14="http://schemas.microsoft.com/office/powerpoint/2010/main" val="6732524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pic>
        <p:nvPicPr>
          <p:cNvPr id="6" name="Imagem 5">
            <a:extLst>
              <a:ext uri="{FF2B5EF4-FFF2-40B4-BE49-F238E27FC236}">
                <a16:creationId xmlns:a16="http://schemas.microsoft.com/office/drawing/2014/main" id="{68E40F48-9BB2-4EC0-828E-09882E2390B9}"/>
              </a:ext>
            </a:extLst>
          </p:cNvPr>
          <p:cNvPicPr>
            <a:picLocks noChangeAspect="1"/>
          </p:cNvPicPr>
          <p:nvPr/>
        </p:nvPicPr>
        <p:blipFill rotWithShape="1">
          <a:blip r:embed="rId3"/>
          <a:srcRect l="9430" t="23109" r="66685" b="26075"/>
          <a:stretch/>
        </p:blipFill>
        <p:spPr>
          <a:xfrm>
            <a:off x="338203" y="951979"/>
            <a:ext cx="11423737" cy="5711870"/>
          </a:xfrm>
          <a:prstGeom prst="rect">
            <a:avLst/>
          </a:prstGeom>
        </p:spPr>
      </p:pic>
    </p:spTree>
    <p:extLst>
      <p:ext uri="{BB962C8B-B14F-4D97-AF65-F5344CB8AC3E}">
        <p14:creationId xmlns:p14="http://schemas.microsoft.com/office/powerpoint/2010/main" val="2741616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13" name="Gráfico 12"/>
          <p:cNvGraphicFramePr/>
          <p:nvPr>
            <p:extLst/>
          </p:nvPr>
        </p:nvGraphicFramePr>
        <p:xfrm>
          <a:off x="4395776" y="3182925"/>
          <a:ext cx="394169" cy="43493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7" name="Gráfico 26"/>
          <p:cNvGraphicFramePr/>
          <p:nvPr>
            <p:extLst/>
          </p:nvPr>
        </p:nvGraphicFramePr>
        <p:xfrm>
          <a:off x="2842182" y="5483308"/>
          <a:ext cx="394169" cy="434930"/>
        </p:xfrm>
        <a:graphic>
          <a:graphicData uri="http://schemas.openxmlformats.org/drawingml/2006/chart">
            <c:chart xmlns:c="http://schemas.openxmlformats.org/drawingml/2006/chart" xmlns:r="http://schemas.openxmlformats.org/officeDocument/2006/relationships" r:id="rId4"/>
          </a:graphicData>
        </a:graphic>
      </p:graphicFrame>
      <p:sp>
        <p:nvSpPr>
          <p:cNvPr id="7" name="CaixaDeTexto 6"/>
          <p:cNvSpPr txBox="1"/>
          <p:nvPr/>
        </p:nvSpPr>
        <p:spPr>
          <a:xfrm>
            <a:off x="88982" y="1074258"/>
            <a:ext cx="6889796" cy="500137"/>
          </a:xfrm>
          <a:prstGeom prst="rect">
            <a:avLst/>
          </a:prstGeom>
          <a:noFill/>
        </p:spPr>
        <p:txBody>
          <a:bodyPr wrap="square" lIns="68580" tIns="34290" rIns="68580" bIns="34290" rtlCol="0">
            <a:spAutoFit/>
          </a:bodyPr>
          <a:lstStyle/>
          <a:p>
            <a:r>
              <a:rPr lang="pt-BR" sz="2800" b="1" dirty="0">
                <a:solidFill>
                  <a:schemeClr val="accent1">
                    <a:lumMod val="50000"/>
                  </a:schemeClr>
                </a:solidFill>
                <a:latin typeface="Open Sans"/>
              </a:rPr>
              <a:t>Governança - conceituação</a:t>
            </a:r>
          </a:p>
        </p:txBody>
      </p:sp>
      <p:sp>
        <p:nvSpPr>
          <p:cNvPr id="2" name="Retângulo 1">
            <a:extLst>
              <a:ext uri="{FF2B5EF4-FFF2-40B4-BE49-F238E27FC236}">
                <a16:creationId xmlns:a16="http://schemas.microsoft.com/office/drawing/2014/main" id="{6ABF7161-02F3-4514-AE26-EC8FCC8EE6C1}"/>
              </a:ext>
            </a:extLst>
          </p:cNvPr>
          <p:cNvSpPr/>
          <p:nvPr/>
        </p:nvSpPr>
        <p:spPr>
          <a:xfrm>
            <a:off x="508157" y="2063585"/>
            <a:ext cx="5303920" cy="4062651"/>
          </a:xfrm>
          <a:prstGeom prst="rect">
            <a:avLst/>
          </a:prstGeom>
          <a:solidFill>
            <a:schemeClr val="accent5">
              <a:lumMod val="60000"/>
              <a:lumOff val="40000"/>
            </a:schemeClr>
          </a:solidFill>
        </p:spPr>
        <p:txBody>
          <a:bodyPr wrap="square">
            <a:spAutoFit/>
          </a:bodyPr>
          <a:lstStyle/>
          <a:p>
            <a:pPr algn="just"/>
            <a:r>
              <a:rPr lang="pt-BR" sz="2800" dirty="0">
                <a:latin typeface="Open Sans"/>
              </a:rPr>
              <a:t>Governança</a:t>
            </a:r>
            <a:r>
              <a:rPr lang="pt-BR" sz="2400" dirty="0">
                <a:latin typeface="Open Sans"/>
              </a:rPr>
              <a:t> no setor público compreende essencialmente os mecanismos de </a:t>
            </a:r>
            <a:r>
              <a:rPr lang="pt-BR" sz="2400" b="1" dirty="0">
                <a:latin typeface="Open Sans"/>
              </a:rPr>
              <a:t>liderança</a:t>
            </a:r>
            <a:r>
              <a:rPr lang="pt-BR" sz="2400" dirty="0">
                <a:latin typeface="Open Sans"/>
              </a:rPr>
              <a:t>, </a:t>
            </a:r>
            <a:r>
              <a:rPr lang="pt-BR" sz="2400" b="1" dirty="0">
                <a:latin typeface="Open Sans"/>
              </a:rPr>
              <a:t>estratégia</a:t>
            </a:r>
            <a:r>
              <a:rPr lang="pt-BR" sz="2400" dirty="0">
                <a:latin typeface="Open Sans"/>
              </a:rPr>
              <a:t> e </a:t>
            </a:r>
            <a:r>
              <a:rPr lang="pt-BR" sz="2400" b="1" dirty="0">
                <a:latin typeface="Open Sans"/>
              </a:rPr>
              <a:t>controle</a:t>
            </a:r>
            <a:r>
              <a:rPr lang="pt-BR" sz="2400" dirty="0">
                <a:latin typeface="Open Sans"/>
              </a:rPr>
              <a:t> postos em prática para </a:t>
            </a:r>
            <a:r>
              <a:rPr lang="pt-BR" sz="2400" u="sng" dirty="0">
                <a:latin typeface="Open Sans"/>
              </a:rPr>
              <a:t>avaliar</a:t>
            </a:r>
            <a:r>
              <a:rPr lang="pt-BR" sz="2400" dirty="0">
                <a:latin typeface="Open Sans"/>
              </a:rPr>
              <a:t>, </a:t>
            </a:r>
            <a:r>
              <a:rPr lang="pt-BR" sz="2400" u="sng" dirty="0">
                <a:latin typeface="Open Sans"/>
              </a:rPr>
              <a:t>direcionar</a:t>
            </a:r>
            <a:r>
              <a:rPr lang="pt-BR" sz="2400" dirty="0">
                <a:latin typeface="Open Sans"/>
              </a:rPr>
              <a:t> e </a:t>
            </a:r>
            <a:r>
              <a:rPr lang="pt-BR" sz="2400" u="sng" dirty="0">
                <a:latin typeface="Open Sans"/>
              </a:rPr>
              <a:t>monitorar</a:t>
            </a:r>
            <a:r>
              <a:rPr lang="pt-BR" sz="2400" dirty="0">
                <a:latin typeface="Open Sans"/>
              </a:rPr>
              <a:t> a atuação da gestão, com vistas à condução de políticas públicas e à prestação de serviços de interesse da sociedade.</a:t>
            </a:r>
          </a:p>
          <a:p>
            <a:pPr algn="just"/>
            <a:endParaRPr lang="pt-BR" sz="2400" dirty="0">
              <a:latin typeface="Open Sans"/>
            </a:endParaRPr>
          </a:p>
          <a:p>
            <a:pPr algn="r"/>
            <a:r>
              <a:rPr lang="pt-BR" sz="1400" dirty="0">
                <a:latin typeface="Open Sans"/>
              </a:rPr>
              <a:t>Decreto nº 9.203/2017</a:t>
            </a:r>
          </a:p>
        </p:txBody>
      </p:sp>
      <p:graphicFrame>
        <p:nvGraphicFramePr>
          <p:cNvPr id="10" name="Diagrama 9">
            <a:extLst>
              <a:ext uri="{FF2B5EF4-FFF2-40B4-BE49-F238E27FC236}">
                <a16:creationId xmlns:a16="http://schemas.microsoft.com/office/drawing/2014/main" id="{5C4427B4-374F-496E-9422-766EABF29E48}"/>
              </a:ext>
            </a:extLst>
          </p:cNvPr>
          <p:cNvGraphicFramePr/>
          <p:nvPr>
            <p:extLst>
              <p:ext uri="{D42A27DB-BD31-4B8C-83A1-F6EECF244321}">
                <p14:modId xmlns:p14="http://schemas.microsoft.com/office/powerpoint/2010/main" val="17240969"/>
              </p:ext>
            </p:extLst>
          </p:nvPr>
        </p:nvGraphicFramePr>
        <p:xfrm>
          <a:off x="4249108" y="939762"/>
          <a:ext cx="8865644" cy="577418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482093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CaixaDeTexto 3">
            <a:extLst>
              <a:ext uri="{FF2B5EF4-FFF2-40B4-BE49-F238E27FC236}">
                <a16:creationId xmlns:a16="http://schemas.microsoft.com/office/drawing/2014/main" id="{282CA73C-6CAA-4E03-A6DB-AF88B29336E8}"/>
              </a:ext>
            </a:extLst>
          </p:cNvPr>
          <p:cNvSpPr txBox="1"/>
          <p:nvPr/>
        </p:nvSpPr>
        <p:spPr>
          <a:xfrm>
            <a:off x="386363" y="1046964"/>
            <a:ext cx="11288186" cy="584775"/>
          </a:xfrm>
          <a:prstGeom prst="rect">
            <a:avLst/>
          </a:prstGeom>
          <a:noFill/>
        </p:spPr>
        <p:txBody>
          <a:bodyPr wrap="square" rtlCol="0">
            <a:spAutoFit/>
          </a:bodyPr>
          <a:lstStyle/>
          <a:p>
            <a:r>
              <a:rPr lang="pt-BR" sz="3200" b="1" dirty="0">
                <a:solidFill>
                  <a:schemeClr val="accent1">
                    <a:lumMod val="50000"/>
                  </a:schemeClr>
                </a:solidFill>
                <a:latin typeface="Open Sans"/>
              </a:rPr>
              <a:t>Governança</a:t>
            </a:r>
          </a:p>
        </p:txBody>
      </p:sp>
      <p:sp>
        <p:nvSpPr>
          <p:cNvPr id="5" name="CaixaDeTexto 4">
            <a:extLst>
              <a:ext uri="{FF2B5EF4-FFF2-40B4-BE49-F238E27FC236}">
                <a16:creationId xmlns:a16="http://schemas.microsoft.com/office/drawing/2014/main" id="{B65F9E43-8FD3-4B56-973A-9B88E444D943}"/>
              </a:ext>
            </a:extLst>
          </p:cNvPr>
          <p:cNvSpPr txBox="1"/>
          <p:nvPr/>
        </p:nvSpPr>
        <p:spPr>
          <a:xfrm>
            <a:off x="265593" y="3481323"/>
            <a:ext cx="3526543" cy="584775"/>
          </a:xfrm>
          <a:prstGeom prst="rect">
            <a:avLst/>
          </a:prstGeom>
          <a:noFill/>
        </p:spPr>
        <p:txBody>
          <a:bodyPr wrap="none" rtlCol="0">
            <a:spAutoFit/>
          </a:bodyPr>
          <a:lstStyle/>
          <a:p>
            <a:r>
              <a:rPr lang="pt-BR" sz="3200" dirty="0"/>
              <a:t>Decreto 9.203/2017</a:t>
            </a:r>
          </a:p>
        </p:txBody>
      </p:sp>
      <p:sp>
        <p:nvSpPr>
          <p:cNvPr id="6" name="Chave Esquerda 5">
            <a:extLst>
              <a:ext uri="{FF2B5EF4-FFF2-40B4-BE49-F238E27FC236}">
                <a16:creationId xmlns:a16="http://schemas.microsoft.com/office/drawing/2014/main" id="{E4A8C709-609B-41E4-91C7-0F9E9FE43205}"/>
              </a:ext>
            </a:extLst>
          </p:cNvPr>
          <p:cNvSpPr/>
          <p:nvPr/>
        </p:nvSpPr>
        <p:spPr>
          <a:xfrm>
            <a:off x="3893591" y="2003390"/>
            <a:ext cx="833027" cy="3339980"/>
          </a:xfrm>
          <a:prstGeom prst="leftBrace">
            <a:avLst>
              <a:gd name="adj1" fmla="val 8333"/>
              <a:gd name="adj2" fmla="val 55145"/>
            </a:avLst>
          </a:prstGeom>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pt-BR" dirty="0">
              <a:solidFill>
                <a:schemeClr val="accent1">
                  <a:lumMod val="50000"/>
                </a:schemeClr>
              </a:solidFill>
            </a:endParaRPr>
          </a:p>
        </p:txBody>
      </p:sp>
      <p:sp>
        <p:nvSpPr>
          <p:cNvPr id="7" name="CaixaDeTexto 6">
            <a:extLst>
              <a:ext uri="{FF2B5EF4-FFF2-40B4-BE49-F238E27FC236}">
                <a16:creationId xmlns:a16="http://schemas.microsoft.com/office/drawing/2014/main" id="{1A13B4D0-0C3E-47DC-A632-D0639F8DC87A}"/>
              </a:ext>
            </a:extLst>
          </p:cNvPr>
          <p:cNvSpPr txBox="1"/>
          <p:nvPr/>
        </p:nvSpPr>
        <p:spPr>
          <a:xfrm>
            <a:off x="4511558" y="2204049"/>
            <a:ext cx="4744376" cy="3139321"/>
          </a:xfrm>
          <a:prstGeom prst="rect">
            <a:avLst/>
          </a:prstGeom>
          <a:noFill/>
        </p:spPr>
        <p:txBody>
          <a:bodyPr wrap="none" rtlCol="0">
            <a:spAutoFit/>
          </a:bodyPr>
          <a:lstStyle/>
          <a:p>
            <a:r>
              <a:rPr lang="pt-BR" dirty="0"/>
              <a:t>Conceito, princípios, diretrizes e mecanismos </a:t>
            </a:r>
          </a:p>
          <a:p>
            <a:r>
              <a:rPr lang="pt-BR" dirty="0"/>
              <a:t>para governança pública;</a:t>
            </a:r>
          </a:p>
          <a:p>
            <a:endParaRPr lang="pt-BR" dirty="0"/>
          </a:p>
          <a:p>
            <a:r>
              <a:rPr lang="pt-BR" dirty="0"/>
              <a:t>CIG: Comitê Interministerial de Governança;</a:t>
            </a:r>
          </a:p>
          <a:p>
            <a:endParaRPr lang="pt-BR" dirty="0"/>
          </a:p>
          <a:p>
            <a:r>
              <a:rPr lang="pt-BR" dirty="0"/>
              <a:t>Comitês Internos de Governança em cada órgão;</a:t>
            </a:r>
          </a:p>
          <a:p>
            <a:endParaRPr lang="pt-BR" dirty="0"/>
          </a:p>
          <a:p>
            <a:r>
              <a:rPr lang="pt-BR" dirty="0"/>
              <a:t>Papel da auditoria interna governamental; e</a:t>
            </a:r>
          </a:p>
          <a:p>
            <a:endParaRPr lang="pt-BR" dirty="0"/>
          </a:p>
          <a:p>
            <a:r>
              <a:rPr lang="pt-BR" dirty="0"/>
              <a:t>Programa de Integridade em cada órgão.</a:t>
            </a:r>
          </a:p>
          <a:p>
            <a:endParaRPr lang="pt-BR" dirty="0"/>
          </a:p>
        </p:txBody>
      </p:sp>
      <p:sp>
        <p:nvSpPr>
          <p:cNvPr id="8" name="Chave Esquerda 7">
            <a:extLst>
              <a:ext uri="{FF2B5EF4-FFF2-40B4-BE49-F238E27FC236}">
                <a16:creationId xmlns:a16="http://schemas.microsoft.com/office/drawing/2014/main" id="{045CEAE7-6433-4EFE-B947-5765C755C61E}"/>
              </a:ext>
            </a:extLst>
          </p:cNvPr>
          <p:cNvSpPr/>
          <p:nvPr/>
        </p:nvSpPr>
        <p:spPr>
          <a:xfrm>
            <a:off x="8927614" y="1868147"/>
            <a:ext cx="664959" cy="2648072"/>
          </a:xfrm>
          <a:prstGeom prst="leftBrace">
            <a:avLst>
              <a:gd name="adj1" fmla="val 8333"/>
              <a:gd name="adj2" fmla="val 51933"/>
            </a:avLst>
          </a:prstGeom>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pt-BR" dirty="0"/>
          </a:p>
        </p:txBody>
      </p:sp>
      <p:sp>
        <p:nvSpPr>
          <p:cNvPr id="9" name="CaixaDeTexto 8">
            <a:extLst>
              <a:ext uri="{FF2B5EF4-FFF2-40B4-BE49-F238E27FC236}">
                <a16:creationId xmlns:a16="http://schemas.microsoft.com/office/drawing/2014/main" id="{076FFBC2-5D3D-4B8C-B62B-33F233652439}"/>
              </a:ext>
            </a:extLst>
          </p:cNvPr>
          <p:cNvSpPr txBox="1"/>
          <p:nvPr/>
        </p:nvSpPr>
        <p:spPr>
          <a:xfrm>
            <a:off x="9357389" y="2075793"/>
            <a:ext cx="2478435" cy="2031325"/>
          </a:xfrm>
          <a:prstGeom prst="rect">
            <a:avLst/>
          </a:prstGeom>
          <a:noFill/>
        </p:spPr>
        <p:txBody>
          <a:bodyPr wrap="none" rtlCol="0">
            <a:spAutoFit/>
          </a:bodyPr>
          <a:lstStyle/>
          <a:p>
            <a:r>
              <a:rPr lang="pt-BR" dirty="0"/>
              <a:t>(...)</a:t>
            </a:r>
          </a:p>
          <a:p>
            <a:endParaRPr lang="pt-BR" dirty="0"/>
          </a:p>
          <a:p>
            <a:r>
              <a:rPr lang="pt-BR" dirty="0"/>
              <a:t>Aprovar manuais e guias</a:t>
            </a:r>
          </a:p>
          <a:p>
            <a:endParaRPr lang="pt-BR" dirty="0"/>
          </a:p>
          <a:p>
            <a:r>
              <a:rPr lang="pt-BR" dirty="0"/>
              <a:t>Aprovar recomendações</a:t>
            </a:r>
          </a:p>
          <a:p>
            <a:endParaRPr lang="pt-BR" dirty="0"/>
          </a:p>
          <a:p>
            <a:r>
              <a:rPr lang="pt-BR" dirty="0"/>
              <a:t>(...)</a:t>
            </a:r>
          </a:p>
        </p:txBody>
      </p:sp>
    </p:spTree>
    <p:extLst>
      <p:ext uri="{BB962C8B-B14F-4D97-AF65-F5344CB8AC3E}">
        <p14:creationId xmlns:p14="http://schemas.microsoft.com/office/powerpoint/2010/main" val="33319618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Diagrama 1">
            <a:extLst>
              <a:ext uri="{FF2B5EF4-FFF2-40B4-BE49-F238E27FC236}">
                <a16:creationId xmlns:a16="http://schemas.microsoft.com/office/drawing/2014/main" id="{233560F0-7CBB-4BB8-8B4F-78D0369C91DD}"/>
              </a:ext>
            </a:extLst>
          </p:cNvPr>
          <p:cNvGraphicFramePr/>
          <p:nvPr>
            <p:extLst>
              <p:ext uri="{D42A27DB-BD31-4B8C-83A1-F6EECF244321}">
                <p14:modId xmlns:p14="http://schemas.microsoft.com/office/powerpoint/2010/main" val="2942507218"/>
              </p:ext>
            </p:extLst>
          </p:nvPr>
        </p:nvGraphicFramePr>
        <p:xfrm>
          <a:off x="432833" y="1090800"/>
          <a:ext cx="11326333" cy="51186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034538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pic>
        <p:nvPicPr>
          <p:cNvPr id="4" name="Espaço Reservado para Conteúdo 3">
            <a:extLst>
              <a:ext uri="{FF2B5EF4-FFF2-40B4-BE49-F238E27FC236}">
                <a16:creationId xmlns:a16="http://schemas.microsoft.com/office/drawing/2014/main" id="{277647B4-5091-4169-AE2A-42945ED67316}"/>
              </a:ext>
            </a:extLst>
          </p:cNvPr>
          <p:cNvPicPr>
            <a:picLocks noGrp="1" noChangeAspect="1"/>
          </p:cNvPicPr>
          <p:nvPr>
            <p:ph idx="4294967295"/>
          </p:nvPr>
        </p:nvPicPr>
        <p:blipFill>
          <a:blip r:embed="rId3"/>
          <a:stretch>
            <a:fillRect/>
          </a:stretch>
        </p:blipFill>
        <p:spPr>
          <a:xfrm>
            <a:off x="1185130" y="1039660"/>
            <a:ext cx="10263659" cy="5661765"/>
          </a:xfrm>
          <a:prstGeom prst="rect">
            <a:avLst/>
          </a:prstGeom>
          <a:effectLst>
            <a:outerShdw blurRad="50800" dist="50800" dir="5400000" algn="ctr" rotWithShape="0">
              <a:schemeClr val="accent1">
                <a:lumMod val="20000"/>
                <a:lumOff val="80000"/>
              </a:schemeClr>
            </a:outerShdw>
          </a:effectLst>
        </p:spPr>
      </p:pic>
    </p:spTree>
    <p:extLst>
      <p:ext uri="{BB962C8B-B14F-4D97-AF65-F5344CB8AC3E}">
        <p14:creationId xmlns:p14="http://schemas.microsoft.com/office/powerpoint/2010/main" val="30574675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0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pic>
        <p:nvPicPr>
          <p:cNvPr id="16" name="Imagem 15">
            <a:extLst>
              <a:ext uri="{FF2B5EF4-FFF2-40B4-BE49-F238E27FC236}">
                <a16:creationId xmlns:a16="http://schemas.microsoft.com/office/drawing/2014/main" id="{00424FAB-4541-49E0-BC43-172D0519E8E5}"/>
              </a:ext>
            </a:extLst>
          </p:cNvPr>
          <p:cNvPicPr>
            <a:picLocks noChangeAspect="1"/>
          </p:cNvPicPr>
          <p:nvPr/>
        </p:nvPicPr>
        <p:blipFill>
          <a:blip r:embed="rId7"/>
          <a:stretch>
            <a:fillRect/>
          </a:stretch>
        </p:blipFill>
        <p:spPr>
          <a:xfrm>
            <a:off x="6516946" y="2090579"/>
            <a:ext cx="2132287" cy="2676842"/>
          </a:xfrm>
          <a:prstGeom prst="rect">
            <a:avLst/>
          </a:prstGeom>
        </p:spPr>
      </p:pic>
      <p:pic>
        <p:nvPicPr>
          <p:cNvPr id="17" name="Imagem 16">
            <a:extLst>
              <a:ext uri="{FF2B5EF4-FFF2-40B4-BE49-F238E27FC236}">
                <a16:creationId xmlns:a16="http://schemas.microsoft.com/office/drawing/2014/main" id="{D2E52959-FD4E-4B68-967C-005378E3B42D}"/>
              </a:ext>
            </a:extLst>
          </p:cNvPr>
          <p:cNvPicPr>
            <a:picLocks noChangeAspect="1"/>
          </p:cNvPicPr>
          <p:nvPr/>
        </p:nvPicPr>
        <p:blipFill>
          <a:blip r:embed="rId8"/>
          <a:stretch>
            <a:fillRect/>
          </a:stretch>
        </p:blipFill>
        <p:spPr>
          <a:xfrm>
            <a:off x="3832572" y="3580850"/>
            <a:ext cx="2081671" cy="2676841"/>
          </a:xfrm>
          <a:prstGeom prst="rect">
            <a:avLst/>
          </a:prstGeom>
        </p:spPr>
      </p:pic>
      <p:sp>
        <p:nvSpPr>
          <p:cNvPr id="6" name="Título 5">
            <a:extLst>
              <a:ext uri="{FF2B5EF4-FFF2-40B4-BE49-F238E27FC236}">
                <a16:creationId xmlns:a16="http://schemas.microsoft.com/office/drawing/2014/main" id="{0B78C871-DEE6-4CDF-A330-640D10963CA9}"/>
              </a:ext>
            </a:extLst>
          </p:cNvPr>
          <p:cNvSpPr>
            <a:spLocks noGrp="1"/>
          </p:cNvSpPr>
          <p:nvPr>
            <p:ph type="title" idx="4294967295"/>
          </p:nvPr>
        </p:nvSpPr>
        <p:spPr>
          <a:xfrm>
            <a:off x="0" y="457200"/>
            <a:ext cx="3932238" cy="1600200"/>
          </a:xfrm>
        </p:spPr>
        <p:txBody>
          <a:bodyPr>
            <a:normAutofit/>
          </a:bodyPr>
          <a:lstStyle/>
          <a:p>
            <a:r>
              <a:rPr lang="pt-BR" b="1" dirty="0">
                <a:solidFill>
                  <a:schemeClr val="accent1">
                    <a:lumMod val="50000"/>
                  </a:schemeClr>
                </a:solidFill>
                <a:latin typeface="Open Sans"/>
              </a:rPr>
              <a:t>Referenciais</a:t>
            </a:r>
          </a:p>
        </p:txBody>
      </p:sp>
      <p:pic>
        <p:nvPicPr>
          <p:cNvPr id="21" name="Imagem 20">
            <a:extLst>
              <a:ext uri="{FF2B5EF4-FFF2-40B4-BE49-F238E27FC236}">
                <a16:creationId xmlns:a16="http://schemas.microsoft.com/office/drawing/2014/main" id="{B6F90F80-E900-4AAB-B923-296DF7F89C0B}"/>
              </a:ext>
            </a:extLst>
          </p:cNvPr>
          <p:cNvPicPr>
            <a:picLocks noChangeAspect="1"/>
          </p:cNvPicPr>
          <p:nvPr/>
        </p:nvPicPr>
        <p:blipFill>
          <a:blip r:embed="rId9"/>
          <a:stretch>
            <a:fillRect/>
          </a:stretch>
        </p:blipFill>
        <p:spPr>
          <a:xfrm>
            <a:off x="806421" y="2164828"/>
            <a:ext cx="2279381" cy="3046359"/>
          </a:xfrm>
          <a:prstGeom prst="rect">
            <a:avLst/>
          </a:prstGeom>
        </p:spPr>
      </p:pic>
      <p:pic>
        <p:nvPicPr>
          <p:cNvPr id="7" name="Imagem 6">
            <a:extLst>
              <a:ext uri="{FF2B5EF4-FFF2-40B4-BE49-F238E27FC236}">
                <a16:creationId xmlns:a16="http://schemas.microsoft.com/office/drawing/2014/main" id="{D97593EB-A3A7-4C87-885F-CC00F8C16074}"/>
              </a:ext>
            </a:extLst>
          </p:cNvPr>
          <p:cNvPicPr>
            <a:picLocks noChangeAspect="1"/>
          </p:cNvPicPr>
          <p:nvPr/>
        </p:nvPicPr>
        <p:blipFill>
          <a:blip r:embed="rId10"/>
          <a:stretch>
            <a:fillRect/>
          </a:stretch>
        </p:blipFill>
        <p:spPr>
          <a:xfrm>
            <a:off x="9253292" y="3580850"/>
            <a:ext cx="2132287" cy="2828690"/>
          </a:xfrm>
          <a:prstGeom prst="rect">
            <a:avLst/>
          </a:prstGeom>
        </p:spPr>
      </p:pic>
    </p:spTree>
    <p:extLst>
      <p:ext uri="{BB962C8B-B14F-4D97-AF65-F5344CB8AC3E}">
        <p14:creationId xmlns:p14="http://schemas.microsoft.com/office/powerpoint/2010/main" val="10540042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309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6" name="Título 5">
            <a:extLst>
              <a:ext uri="{FF2B5EF4-FFF2-40B4-BE49-F238E27FC236}">
                <a16:creationId xmlns:a16="http://schemas.microsoft.com/office/drawing/2014/main" id="{0B78C871-DEE6-4CDF-A330-640D10963CA9}"/>
              </a:ext>
            </a:extLst>
          </p:cNvPr>
          <p:cNvSpPr>
            <a:spLocks noGrp="1"/>
          </p:cNvSpPr>
          <p:nvPr>
            <p:ph type="title" idx="4294967295"/>
          </p:nvPr>
        </p:nvSpPr>
        <p:spPr>
          <a:xfrm>
            <a:off x="0" y="457200"/>
            <a:ext cx="3932238" cy="1600200"/>
          </a:xfrm>
        </p:spPr>
        <p:txBody>
          <a:bodyPr>
            <a:normAutofit/>
          </a:bodyPr>
          <a:lstStyle/>
          <a:p>
            <a:r>
              <a:rPr lang="pt-BR" sz="3600" b="1" dirty="0">
                <a:solidFill>
                  <a:schemeClr val="accent1">
                    <a:lumMod val="50000"/>
                  </a:schemeClr>
                </a:solidFill>
                <a:latin typeface="Open Sans"/>
              </a:rPr>
              <a:t>Referenciais</a:t>
            </a:r>
          </a:p>
        </p:txBody>
      </p:sp>
      <p:pic>
        <p:nvPicPr>
          <p:cNvPr id="21" name="Imagem 20">
            <a:extLst>
              <a:ext uri="{FF2B5EF4-FFF2-40B4-BE49-F238E27FC236}">
                <a16:creationId xmlns:a16="http://schemas.microsoft.com/office/drawing/2014/main" id="{B6F90F80-E900-4AAB-B923-296DF7F89C0B}"/>
              </a:ext>
            </a:extLst>
          </p:cNvPr>
          <p:cNvPicPr>
            <a:picLocks noChangeAspect="1"/>
          </p:cNvPicPr>
          <p:nvPr/>
        </p:nvPicPr>
        <p:blipFill>
          <a:blip r:embed="rId7"/>
          <a:stretch>
            <a:fillRect/>
          </a:stretch>
        </p:blipFill>
        <p:spPr>
          <a:xfrm>
            <a:off x="806421" y="2164828"/>
            <a:ext cx="2279381" cy="3046359"/>
          </a:xfrm>
          <a:prstGeom prst="rect">
            <a:avLst/>
          </a:prstGeom>
        </p:spPr>
      </p:pic>
      <p:sp>
        <p:nvSpPr>
          <p:cNvPr id="12" name="CaixaDeTexto 11">
            <a:extLst>
              <a:ext uri="{FF2B5EF4-FFF2-40B4-BE49-F238E27FC236}">
                <a16:creationId xmlns:a16="http://schemas.microsoft.com/office/drawing/2014/main" id="{5A0FEC32-7D83-4680-A058-04199D021766}"/>
              </a:ext>
            </a:extLst>
          </p:cNvPr>
          <p:cNvSpPr txBox="1"/>
          <p:nvPr/>
        </p:nvSpPr>
        <p:spPr>
          <a:xfrm>
            <a:off x="4845067" y="2273935"/>
            <a:ext cx="6281928" cy="2828144"/>
          </a:xfrm>
          <a:prstGeom prst="rect">
            <a:avLst/>
          </a:prstGeom>
        </p:spPr>
        <p:txBody>
          <a:bodyPr vert="horz" lIns="91440" tIns="45720" rIns="91440" bIns="45720" rtlCol="0" anchor="ctr">
            <a:normAutofit/>
          </a:bodyPr>
          <a:lstStyle/>
          <a:p>
            <a:pPr marL="514350" indent="-514350">
              <a:lnSpc>
                <a:spcPct val="90000"/>
              </a:lnSpc>
              <a:spcAft>
                <a:spcPts val="600"/>
              </a:spcAft>
              <a:buFont typeface="Wingdings" panose="05000000000000000000" pitchFamily="2" charset="2"/>
              <a:buChar char="Ø"/>
            </a:pPr>
            <a:r>
              <a:rPr lang="pt-BR" sz="2400" dirty="0"/>
              <a:t>necessidade de se fortalecer a confiança da sociedade nas instituições públicas </a:t>
            </a:r>
          </a:p>
          <a:p>
            <a:pPr marL="514350" indent="-514350">
              <a:lnSpc>
                <a:spcPct val="90000"/>
              </a:lnSpc>
              <a:spcAft>
                <a:spcPts val="600"/>
              </a:spcAft>
              <a:buFont typeface="Wingdings" panose="05000000000000000000" pitchFamily="2" charset="2"/>
              <a:buChar char="Ø"/>
            </a:pPr>
            <a:r>
              <a:rPr lang="pt-BR" sz="2400" dirty="0"/>
              <a:t>busca por maior coordenação das iniciativas de aprimoramento institucional</a:t>
            </a:r>
          </a:p>
          <a:p>
            <a:pPr marL="514350" indent="-514350">
              <a:lnSpc>
                <a:spcPct val="90000"/>
              </a:lnSpc>
              <a:spcAft>
                <a:spcPts val="600"/>
              </a:spcAft>
              <a:buFont typeface="Wingdings" panose="05000000000000000000" pitchFamily="2" charset="2"/>
              <a:buChar char="Ø"/>
            </a:pPr>
            <a:r>
              <a:rPr lang="pt-BR" sz="2400" dirty="0"/>
              <a:t>utilidade de se estabelecer patamares mínimos de governança</a:t>
            </a:r>
            <a:endParaRPr lang="en-US" sz="2000" dirty="0"/>
          </a:p>
        </p:txBody>
      </p:sp>
    </p:spTree>
    <p:extLst>
      <p:ext uri="{BB962C8B-B14F-4D97-AF65-F5344CB8AC3E}">
        <p14:creationId xmlns:p14="http://schemas.microsoft.com/office/powerpoint/2010/main" val="15292592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7476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aphicFrame>
        <p:nvGraphicFramePr>
          <p:cNvPr id="7" name="Diagrama 6">
            <a:extLst>
              <a:ext uri="{FF2B5EF4-FFF2-40B4-BE49-F238E27FC236}">
                <a16:creationId xmlns:a16="http://schemas.microsoft.com/office/drawing/2014/main" id="{E5865AD0-C8AF-4DF5-BAB6-790C84273285}"/>
              </a:ext>
            </a:extLst>
          </p:cNvPr>
          <p:cNvGraphicFramePr/>
          <p:nvPr>
            <p:extLst>
              <p:ext uri="{D42A27DB-BD31-4B8C-83A1-F6EECF244321}">
                <p14:modId xmlns:p14="http://schemas.microsoft.com/office/powerpoint/2010/main" val="2224996798"/>
              </p:ext>
            </p:extLst>
          </p:nvPr>
        </p:nvGraphicFramePr>
        <p:xfrm>
          <a:off x="1003648" y="1804239"/>
          <a:ext cx="10184704" cy="455898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17567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7578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19" name="AutoShape 3">
            <a:extLst>
              <a:ext uri="{FF2B5EF4-FFF2-40B4-BE49-F238E27FC236}">
                <a16:creationId xmlns:a16="http://schemas.microsoft.com/office/drawing/2014/main" id="{1095E810-36B2-4027-8D18-55E445EE6920}"/>
              </a:ext>
            </a:extLst>
          </p:cNvPr>
          <p:cNvSpPr>
            <a:spLocks noChangeAspect="1" noChangeArrowheads="1" noTextEdit="1"/>
          </p:cNvSpPr>
          <p:nvPr/>
        </p:nvSpPr>
        <p:spPr bwMode="auto">
          <a:xfrm>
            <a:off x="7722351" y="1566243"/>
            <a:ext cx="3978634" cy="3854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5" name="CaixaDeTexto 4">
            <a:extLst>
              <a:ext uri="{FF2B5EF4-FFF2-40B4-BE49-F238E27FC236}">
                <a16:creationId xmlns:a16="http://schemas.microsoft.com/office/drawing/2014/main" id="{63A5D98B-385D-4F18-917E-4CF465E29021}"/>
              </a:ext>
            </a:extLst>
          </p:cNvPr>
          <p:cNvSpPr txBox="1"/>
          <p:nvPr/>
        </p:nvSpPr>
        <p:spPr>
          <a:xfrm>
            <a:off x="4976031" y="2204580"/>
            <a:ext cx="6377769" cy="3854789"/>
          </a:xfrm>
          <a:prstGeom prst="rect">
            <a:avLst/>
          </a:prstGeom>
          <a:solidFill>
            <a:schemeClr val="accent1">
              <a:lumMod val="40000"/>
              <a:lumOff val="60000"/>
            </a:schemeClr>
          </a:solidFill>
        </p:spPr>
        <p:txBody>
          <a:bodyPr vert="horz" lIns="91440" tIns="45720" rIns="91440" bIns="45720" rtlCol="0" anchor="ctr">
            <a:normAutofit/>
          </a:bodyPr>
          <a:lstStyle/>
          <a:p>
            <a:pPr marL="342900" indent="-342900">
              <a:lnSpc>
                <a:spcPct val="90000"/>
              </a:lnSpc>
              <a:spcAft>
                <a:spcPts val="600"/>
              </a:spcAft>
              <a:buFont typeface="Arial" panose="020B0604020202020204" pitchFamily="34" charset="0"/>
              <a:buChar char="•"/>
            </a:pPr>
            <a:r>
              <a:rPr lang="pt-BR" sz="2400" dirty="0"/>
              <a:t>fixação de formas de acompanhamento de resultados</a:t>
            </a:r>
          </a:p>
          <a:p>
            <a:pPr marL="342900" indent="-342900">
              <a:lnSpc>
                <a:spcPct val="90000"/>
              </a:lnSpc>
              <a:spcAft>
                <a:spcPts val="600"/>
              </a:spcAft>
              <a:buFont typeface="Arial" panose="020B0604020202020204" pitchFamily="34" charset="0"/>
              <a:buChar char="•"/>
            </a:pPr>
            <a:r>
              <a:rPr lang="pt-BR" sz="2400" dirty="0"/>
              <a:t>busca de soluções para melhoria do desempenho das organizações</a:t>
            </a:r>
          </a:p>
          <a:p>
            <a:pPr marL="342900" indent="-342900">
              <a:lnSpc>
                <a:spcPct val="90000"/>
              </a:lnSpc>
              <a:spcAft>
                <a:spcPts val="600"/>
              </a:spcAft>
              <a:buFont typeface="Arial" panose="020B0604020202020204" pitchFamily="34" charset="0"/>
              <a:buChar char="•"/>
            </a:pPr>
            <a:r>
              <a:rPr lang="pt-BR" sz="2400" dirty="0"/>
              <a:t>utilização de instrumentos de promoção do processo decisório baseado em evidências, conforme indicado no art. 6º, parágrafo único, do Decreto nº 9.203, de 2017</a:t>
            </a:r>
          </a:p>
          <a:p>
            <a:pPr>
              <a:lnSpc>
                <a:spcPct val="90000"/>
              </a:lnSpc>
              <a:spcAft>
                <a:spcPts val="600"/>
              </a:spcAft>
            </a:pPr>
            <a:endParaRPr lang="en-US" sz="2400" dirty="0"/>
          </a:p>
        </p:txBody>
      </p:sp>
      <p:sp>
        <p:nvSpPr>
          <p:cNvPr id="6" name="Título 4">
            <a:extLst>
              <a:ext uri="{FF2B5EF4-FFF2-40B4-BE49-F238E27FC236}">
                <a16:creationId xmlns:a16="http://schemas.microsoft.com/office/drawing/2014/main" id="{07AA1179-5805-4ADE-9DE9-B73BF4ABDB25}"/>
              </a:ext>
            </a:extLst>
          </p:cNvPr>
          <p:cNvSpPr txBox="1">
            <a:spLocks/>
          </p:cNvSpPr>
          <p:nvPr/>
        </p:nvSpPr>
        <p:spPr>
          <a:xfrm>
            <a:off x="712940" y="2204581"/>
            <a:ext cx="3494362" cy="29686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pPr>
            <a:r>
              <a:rPr lang="en-US" sz="3200" dirty="0" err="1">
                <a:solidFill>
                  <a:schemeClr val="tx2">
                    <a:lumMod val="75000"/>
                  </a:schemeClr>
                </a:solidFill>
                <a:latin typeface="Open Sans"/>
              </a:rPr>
              <a:t>Estabelecer</a:t>
            </a:r>
            <a:r>
              <a:rPr lang="en-US" sz="3200" dirty="0">
                <a:solidFill>
                  <a:schemeClr val="tx2">
                    <a:lumMod val="75000"/>
                  </a:schemeClr>
                </a:solidFill>
                <a:latin typeface="Open Sans"/>
              </a:rPr>
              <a:t> </a:t>
            </a:r>
            <a:r>
              <a:rPr lang="en-US" sz="3200" dirty="0" err="1">
                <a:solidFill>
                  <a:schemeClr val="tx2">
                    <a:lumMod val="75000"/>
                  </a:schemeClr>
                </a:solidFill>
                <a:latin typeface="Open Sans"/>
              </a:rPr>
              <a:t>patamares</a:t>
            </a:r>
            <a:r>
              <a:rPr lang="en-US" sz="3200" dirty="0">
                <a:solidFill>
                  <a:schemeClr val="tx2">
                    <a:lumMod val="75000"/>
                  </a:schemeClr>
                </a:solidFill>
                <a:latin typeface="Open Sans"/>
              </a:rPr>
              <a:t> </a:t>
            </a:r>
            <a:r>
              <a:rPr lang="en-US" sz="3200" dirty="0" err="1">
                <a:solidFill>
                  <a:schemeClr val="tx2">
                    <a:lumMod val="75000"/>
                  </a:schemeClr>
                </a:solidFill>
                <a:latin typeface="Open Sans"/>
              </a:rPr>
              <a:t>mínimos</a:t>
            </a:r>
            <a:r>
              <a:rPr lang="en-US" sz="3200" dirty="0">
                <a:solidFill>
                  <a:schemeClr val="tx2">
                    <a:lumMod val="75000"/>
                  </a:schemeClr>
                </a:solidFill>
                <a:latin typeface="Open Sans"/>
              </a:rPr>
              <a:t> de </a:t>
            </a:r>
            <a:r>
              <a:rPr lang="en-US" sz="3200" dirty="0" err="1">
                <a:solidFill>
                  <a:schemeClr val="tx2">
                    <a:lumMod val="75000"/>
                  </a:schemeClr>
                </a:solidFill>
                <a:latin typeface="Open Sans"/>
              </a:rPr>
              <a:t>governança</a:t>
            </a:r>
            <a:r>
              <a:rPr lang="en-US" sz="3200" dirty="0">
                <a:solidFill>
                  <a:schemeClr val="tx2">
                    <a:lumMod val="75000"/>
                  </a:schemeClr>
                </a:solidFill>
                <a:latin typeface="Open Sans"/>
              </a:rPr>
              <a:t> </a:t>
            </a:r>
            <a:endParaRPr lang="en-US" sz="3200" kern="1200" dirty="0">
              <a:solidFill>
                <a:schemeClr val="tx2">
                  <a:lumMod val="75000"/>
                </a:schemeClr>
              </a:solidFill>
              <a:latin typeface="Open Sans"/>
            </a:endParaRPr>
          </a:p>
        </p:txBody>
      </p:sp>
    </p:spTree>
    <p:extLst>
      <p:ext uri="{BB962C8B-B14F-4D97-AF65-F5344CB8AC3E}">
        <p14:creationId xmlns:p14="http://schemas.microsoft.com/office/powerpoint/2010/main" val="688808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7" name="Retângulo 6">
            <a:extLst>
              <a:ext uri="{FF2B5EF4-FFF2-40B4-BE49-F238E27FC236}">
                <a16:creationId xmlns:a16="http://schemas.microsoft.com/office/drawing/2014/main" id="{790A9BBE-DAEA-456D-A0FA-68D60B51F608}"/>
              </a:ext>
            </a:extLst>
          </p:cNvPr>
          <p:cNvSpPr/>
          <p:nvPr/>
        </p:nvSpPr>
        <p:spPr>
          <a:xfrm>
            <a:off x="469933" y="1981039"/>
            <a:ext cx="10689465" cy="2895921"/>
          </a:xfrm>
          <a:prstGeom prst="rect">
            <a:avLst/>
          </a:prstGeom>
        </p:spPr>
        <p:txBody>
          <a:bodyPr wrap="square">
            <a:spAutoFit/>
          </a:bodyPr>
          <a:lstStyle/>
          <a:p>
            <a:pPr marL="342900" indent="-342900" algn="just">
              <a:lnSpc>
                <a:spcPct val="107000"/>
              </a:lnSpc>
              <a:spcAft>
                <a:spcPts val="800"/>
              </a:spcAft>
              <a:buClr>
                <a:srgbClr val="F3954F"/>
              </a:buClr>
              <a:buFont typeface="Wingdings" panose="05000000000000000000" pitchFamily="2" charset="2"/>
              <a:buChar char="ü"/>
            </a:pPr>
            <a:r>
              <a:rPr lang="pt-BR" sz="2000" dirty="0">
                <a:latin typeface="Calibri" panose="020F0502020204030204" pitchFamily="34" charset="0"/>
                <a:ea typeface="Calibri" panose="020F0502020204030204" pitchFamily="34" charset="0"/>
                <a:cs typeface="Calibri" panose="020F0502020204030204" pitchFamily="34" charset="0"/>
              </a:rPr>
              <a:t>O conjunto de guias práticos de avaliação </a:t>
            </a:r>
            <a:r>
              <a:rPr lang="pt-BR" sz="2000" dirty="0" err="1">
                <a:latin typeface="Calibri" panose="020F0502020204030204" pitchFamily="34" charset="0"/>
                <a:ea typeface="Calibri" panose="020F0502020204030204" pitchFamily="34" charset="0"/>
                <a:cs typeface="Calibri" panose="020F0502020204030204" pitchFamily="34" charset="0"/>
              </a:rPr>
              <a:t>ex</a:t>
            </a:r>
            <a:r>
              <a:rPr lang="pt-BR" sz="2000" dirty="0">
                <a:latin typeface="Calibri" panose="020F0502020204030204" pitchFamily="34" charset="0"/>
                <a:ea typeface="Calibri" panose="020F0502020204030204" pitchFamily="34" charset="0"/>
                <a:cs typeface="Calibri" panose="020F0502020204030204" pitchFamily="34" charset="0"/>
              </a:rPr>
              <a:t> ante e </a:t>
            </a:r>
            <a:r>
              <a:rPr lang="pt-BR" sz="2000" dirty="0" err="1">
                <a:latin typeface="Calibri" panose="020F0502020204030204" pitchFamily="34" charset="0"/>
                <a:ea typeface="Calibri" panose="020F0502020204030204" pitchFamily="34" charset="0"/>
                <a:cs typeface="Calibri" panose="020F0502020204030204" pitchFamily="34" charset="0"/>
              </a:rPr>
              <a:t>ex</a:t>
            </a:r>
            <a:r>
              <a:rPr lang="pt-BR" sz="2000" dirty="0">
                <a:latin typeface="Calibri" panose="020F0502020204030204" pitchFamily="34" charset="0"/>
                <a:ea typeface="Calibri" panose="020F0502020204030204" pitchFamily="34" charset="0"/>
                <a:cs typeface="Calibri" panose="020F0502020204030204" pitchFamily="34" charset="0"/>
              </a:rPr>
              <a:t> post completa o referencial metodológico sobre o processo integrado de avaliação de políticas públicas. </a:t>
            </a:r>
          </a:p>
          <a:p>
            <a:pPr marL="342900" indent="-342900" algn="just">
              <a:lnSpc>
                <a:spcPct val="107000"/>
              </a:lnSpc>
              <a:spcAft>
                <a:spcPts val="800"/>
              </a:spcAft>
              <a:buClr>
                <a:srgbClr val="F3954F"/>
              </a:buClr>
              <a:buFont typeface="Wingdings" panose="05000000000000000000" pitchFamily="2" charset="2"/>
              <a:buChar char="ü"/>
            </a:pPr>
            <a:r>
              <a:rPr lang="pt-BR" sz="2000" dirty="0">
                <a:latin typeface="Calibri" panose="020F0502020204030204" pitchFamily="34" charset="0"/>
                <a:ea typeface="Calibri" panose="020F0502020204030204" pitchFamily="34" charset="0"/>
                <a:cs typeface="Calibri" panose="020F0502020204030204" pitchFamily="34" charset="0"/>
              </a:rPr>
              <a:t>Foram aprovados pelo CIG como diretrizes de boas práticas. </a:t>
            </a:r>
          </a:p>
          <a:p>
            <a:pPr marL="342900" indent="-342900" algn="just">
              <a:lnSpc>
                <a:spcPct val="107000"/>
              </a:lnSpc>
              <a:spcAft>
                <a:spcPts val="800"/>
              </a:spcAft>
              <a:buClr>
                <a:srgbClr val="F3954F"/>
              </a:buClr>
              <a:buFont typeface="Wingdings" panose="05000000000000000000" pitchFamily="2" charset="2"/>
              <a:buChar char="ü"/>
            </a:pPr>
            <a:endParaRPr lang="pt-BR" sz="2000"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endParaRPr lang="pt-BR" sz="2000" dirty="0">
              <a:latin typeface="Calibri" panose="020F0502020204030204" pitchFamily="34" charset="0"/>
              <a:ea typeface="Calibri" panose="020F0502020204030204" pitchFamily="34" charset="0"/>
              <a:cs typeface="Calibri" panose="020F0502020204030204" pitchFamily="34" charset="0"/>
            </a:endParaRPr>
          </a:p>
          <a:p>
            <a:pPr lvl="8" algn="just">
              <a:lnSpc>
                <a:spcPct val="107000"/>
              </a:lnSpc>
              <a:spcAft>
                <a:spcPts val="800"/>
              </a:spcAft>
              <a:buClr>
                <a:srgbClr val="F3954F"/>
              </a:buClr>
            </a:pPr>
            <a:endParaRPr lang="pt-BR" sz="2000" dirty="0">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buClr>
                <a:srgbClr val="F3954F"/>
              </a:buClr>
            </a:pPr>
            <a:endParaRPr lang="pt-BR" sz="20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8" name="Imagem 7">
            <a:extLst>
              <a:ext uri="{FF2B5EF4-FFF2-40B4-BE49-F238E27FC236}">
                <a16:creationId xmlns:a16="http://schemas.microsoft.com/office/drawing/2014/main" id="{488496DD-5DA8-4E07-B935-0FE799273577}"/>
              </a:ext>
            </a:extLst>
          </p:cNvPr>
          <p:cNvPicPr>
            <a:picLocks noChangeAspect="1"/>
          </p:cNvPicPr>
          <p:nvPr/>
        </p:nvPicPr>
        <p:blipFill>
          <a:blip r:embed="rId3"/>
          <a:stretch>
            <a:fillRect/>
          </a:stretch>
        </p:blipFill>
        <p:spPr>
          <a:xfrm>
            <a:off x="7064465" y="3661209"/>
            <a:ext cx="2132287" cy="2676842"/>
          </a:xfrm>
          <a:prstGeom prst="rect">
            <a:avLst/>
          </a:prstGeom>
        </p:spPr>
      </p:pic>
      <p:pic>
        <p:nvPicPr>
          <p:cNvPr id="9" name="Imagem 8">
            <a:extLst>
              <a:ext uri="{FF2B5EF4-FFF2-40B4-BE49-F238E27FC236}">
                <a16:creationId xmlns:a16="http://schemas.microsoft.com/office/drawing/2014/main" id="{70117372-C7CE-4D96-A798-242B0D2334A3}"/>
              </a:ext>
            </a:extLst>
          </p:cNvPr>
          <p:cNvPicPr>
            <a:picLocks noChangeAspect="1"/>
          </p:cNvPicPr>
          <p:nvPr/>
        </p:nvPicPr>
        <p:blipFill>
          <a:blip r:embed="rId4"/>
          <a:stretch>
            <a:fillRect/>
          </a:stretch>
        </p:blipFill>
        <p:spPr>
          <a:xfrm>
            <a:off x="3174521" y="3661209"/>
            <a:ext cx="1949570" cy="2676841"/>
          </a:xfrm>
          <a:prstGeom prst="rect">
            <a:avLst/>
          </a:prstGeom>
        </p:spPr>
      </p:pic>
      <p:sp>
        <p:nvSpPr>
          <p:cNvPr id="10" name="Sinal de Adição 9">
            <a:extLst>
              <a:ext uri="{FF2B5EF4-FFF2-40B4-BE49-F238E27FC236}">
                <a16:creationId xmlns:a16="http://schemas.microsoft.com/office/drawing/2014/main" id="{D5A1C1BB-F011-46C0-807C-78B6995214E9}"/>
              </a:ext>
            </a:extLst>
          </p:cNvPr>
          <p:cNvSpPr/>
          <p:nvPr/>
        </p:nvSpPr>
        <p:spPr>
          <a:xfrm>
            <a:off x="5555621" y="4542429"/>
            <a:ext cx="914400" cy="914400"/>
          </a:xfrm>
          <a:prstGeom prst="mathPlus">
            <a:avLst/>
          </a:prstGeom>
          <a:gradFill flip="none" rotWithShape="1">
            <a:gsLst>
              <a:gs pos="0">
                <a:schemeClr val="accent2">
                  <a:lumMod val="67000"/>
                </a:schemeClr>
              </a:gs>
              <a:gs pos="48000">
                <a:schemeClr val="accent2">
                  <a:lumMod val="97000"/>
                  <a:lumOff val="3000"/>
                </a:schemeClr>
              </a:gs>
              <a:gs pos="100000">
                <a:schemeClr val="accent2">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pt-BR"/>
          </a:p>
        </p:txBody>
      </p:sp>
      <p:sp>
        <p:nvSpPr>
          <p:cNvPr id="6" name="Título 5">
            <a:extLst>
              <a:ext uri="{FF2B5EF4-FFF2-40B4-BE49-F238E27FC236}">
                <a16:creationId xmlns:a16="http://schemas.microsoft.com/office/drawing/2014/main" id="{43740D31-08F4-4A89-B3A4-38953C1D4D9E}"/>
              </a:ext>
            </a:extLst>
          </p:cNvPr>
          <p:cNvSpPr txBox="1">
            <a:spLocks/>
          </p:cNvSpPr>
          <p:nvPr/>
        </p:nvSpPr>
        <p:spPr>
          <a:xfrm>
            <a:off x="0" y="536929"/>
            <a:ext cx="3932238" cy="16002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4000" b="1" dirty="0">
                <a:solidFill>
                  <a:schemeClr val="accent1">
                    <a:lumMod val="50000"/>
                  </a:schemeClr>
                </a:solidFill>
                <a:latin typeface="Open Sans"/>
              </a:rPr>
              <a:t>Referenciais</a:t>
            </a:r>
          </a:p>
        </p:txBody>
      </p:sp>
    </p:spTree>
    <p:extLst>
      <p:ext uri="{BB962C8B-B14F-4D97-AF65-F5344CB8AC3E}">
        <p14:creationId xmlns:p14="http://schemas.microsoft.com/office/powerpoint/2010/main" val="1888619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9" name="Espaço Reservado para Conteúdo 8">
            <a:extLst>
              <a:ext uri="{FF2B5EF4-FFF2-40B4-BE49-F238E27FC236}">
                <a16:creationId xmlns:a16="http://schemas.microsoft.com/office/drawing/2014/main" id="{45372CC7-3203-4AA2-B17E-7ABBE8FC5200}"/>
              </a:ext>
            </a:extLst>
          </p:cNvPr>
          <p:cNvSpPr>
            <a:spLocks noGrp="1"/>
          </p:cNvSpPr>
          <p:nvPr>
            <p:ph idx="4294967295"/>
          </p:nvPr>
        </p:nvSpPr>
        <p:spPr>
          <a:xfrm>
            <a:off x="137787" y="1313820"/>
            <a:ext cx="6172200" cy="677862"/>
          </a:xfrm>
        </p:spPr>
        <p:txBody>
          <a:bodyPr>
            <a:normAutofit fontScale="92500"/>
          </a:bodyPr>
          <a:lstStyle/>
          <a:p>
            <a:pPr marL="0" indent="0">
              <a:buNone/>
            </a:pPr>
            <a:r>
              <a:rPr lang="pt-BR" sz="3200" b="1" dirty="0">
                <a:solidFill>
                  <a:schemeClr val="accent1">
                    <a:lumMod val="50000"/>
                  </a:schemeClr>
                </a:solidFill>
                <a:latin typeface="Open Sans"/>
              </a:rPr>
              <a:t>IN Conjunta MP/CGU nº 01/2016</a:t>
            </a:r>
          </a:p>
        </p:txBody>
      </p:sp>
      <p:sp>
        <p:nvSpPr>
          <p:cNvPr id="10" name="Balão de Fala: Retângulo com Cantos Arredondados 9">
            <a:extLst>
              <a:ext uri="{FF2B5EF4-FFF2-40B4-BE49-F238E27FC236}">
                <a16:creationId xmlns:a16="http://schemas.microsoft.com/office/drawing/2014/main" id="{6E59242B-AAD9-4C29-970F-80EB6AB1AFBF}"/>
              </a:ext>
            </a:extLst>
          </p:cNvPr>
          <p:cNvSpPr/>
          <p:nvPr/>
        </p:nvSpPr>
        <p:spPr>
          <a:xfrm>
            <a:off x="373912" y="2655381"/>
            <a:ext cx="4285397" cy="2210938"/>
          </a:xfrm>
          <a:prstGeom prst="wedgeRoundRectCallout">
            <a:avLst/>
          </a:prstGeom>
          <a:solidFill>
            <a:schemeClr val="tx2">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pt-BR" dirty="0"/>
              <a:t>Os órgãos e entidades do Poder Executivo Federal deverão adotar medidas para a sistematização de práticas relacionadas à gestão de riscos, aos controles internos, e à governança (art. 1º)</a:t>
            </a:r>
          </a:p>
        </p:txBody>
      </p:sp>
      <p:graphicFrame>
        <p:nvGraphicFramePr>
          <p:cNvPr id="8" name="Diagrama 7">
            <a:extLst>
              <a:ext uri="{FF2B5EF4-FFF2-40B4-BE49-F238E27FC236}">
                <a16:creationId xmlns:a16="http://schemas.microsoft.com/office/drawing/2014/main" id="{6382B328-88DB-4662-B3F8-EF90460B1270}"/>
              </a:ext>
            </a:extLst>
          </p:cNvPr>
          <p:cNvGraphicFramePr/>
          <p:nvPr>
            <p:extLst>
              <p:ext uri="{D42A27DB-BD31-4B8C-83A1-F6EECF244321}">
                <p14:modId xmlns:p14="http://schemas.microsoft.com/office/powerpoint/2010/main" val="560121508"/>
              </p:ext>
            </p:extLst>
          </p:nvPr>
        </p:nvGraphicFramePr>
        <p:xfrm>
          <a:off x="4033381" y="2129424"/>
          <a:ext cx="8020832" cy="44342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09465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57" name="Object 56" hidden="1"/>
          <p:cNvGraphicFramePr>
            <a:graphicFrameLocks noChangeAspect="1"/>
          </p:cNvGraphicFramePr>
          <p:nvPr>
            <p:custDataLst>
              <p:tags r:id="rId2"/>
            </p:custDataLst>
            <p:extLst/>
          </p:nvPr>
        </p:nvGraphicFramePr>
        <p:xfrm>
          <a:off x="1144292" y="644229"/>
          <a:ext cx="1289" cy="1289"/>
        </p:xfrm>
        <a:graphic>
          <a:graphicData uri="http://schemas.openxmlformats.org/presentationml/2006/ole">
            <mc:AlternateContent xmlns:mc="http://schemas.openxmlformats.org/markup-compatibility/2006">
              <mc:Choice xmlns:v="urn:schemas-microsoft-com:vml" Requires="v">
                <p:oleObj spid="_x0000_s73738" name="think-cell Slide" r:id="rId5" imgW="270" imgH="270" progId="TCLayout.ActiveDocument.1">
                  <p:embed/>
                </p:oleObj>
              </mc:Choice>
              <mc:Fallback>
                <p:oleObj name="think-cell Slide" r:id="rId5" imgW="270" imgH="270" progId="TCLayout.ActiveDocument.1">
                  <p:embed/>
                  <p:pic>
                    <p:nvPicPr>
                      <p:cNvPr id="57" name="Object 56" hidden="1"/>
                      <p:cNvPicPr/>
                      <p:nvPr/>
                    </p:nvPicPr>
                    <p:blipFill>
                      <a:blip r:embed="rId6"/>
                      <a:stretch>
                        <a:fillRect/>
                      </a:stretch>
                    </p:blipFill>
                    <p:spPr>
                      <a:xfrm>
                        <a:off x="1144292" y="644229"/>
                        <a:ext cx="1289" cy="1289"/>
                      </a:xfrm>
                      <a:prstGeom prst="rect">
                        <a:avLst/>
                      </a:prstGeom>
                    </p:spPr>
                  </p:pic>
                </p:oleObj>
              </mc:Fallback>
            </mc:AlternateContent>
          </a:graphicData>
        </a:graphic>
      </p:graphicFrame>
      <p:sp>
        <p:nvSpPr>
          <p:cNvPr id="12" name="Freeform 11"/>
          <p:cNvSpPr/>
          <p:nvPr/>
        </p:nvSpPr>
        <p:spPr>
          <a:xfrm>
            <a:off x="2162928" y="2964531"/>
            <a:ext cx="8141324" cy="2213293"/>
          </a:xfrm>
          <a:custGeom>
            <a:avLst/>
            <a:gdLst>
              <a:gd name="connsiteX0" fmla="*/ 0 w 10020091"/>
              <a:gd name="connsiteY0" fmla="*/ 1573362 h 2724053"/>
              <a:gd name="connsiteX1" fmla="*/ 2899610 w 10020091"/>
              <a:gd name="connsiteY1" fmla="*/ 21288 h 2724053"/>
              <a:gd name="connsiteX2" fmla="*/ 8157410 w 10020091"/>
              <a:gd name="connsiteY2" fmla="*/ 2584014 h 2724053"/>
              <a:gd name="connsiteX3" fmla="*/ 9865894 w 10020091"/>
              <a:gd name="connsiteY3" fmla="*/ 2367446 h 2724053"/>
              <a:gd name="connsiteX4" fmla="*/ 9938084 w 10020091"/>
              <a:gd name="connsiteY4" fmla="*/ 2211036 h 2724053"/>
              <a:gd name="connsiteX5" fmla="*/ 9853863 w 10020091"/>
              <a:gd name="connsiteY5" fmla="*/ 2162909 h 2724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20091" h="2724053">
                <a:moveTo>
                  <a:pt x="0" y="1573362"/>
                </a:moveTo>
                <a:cubicBezTo>
                  <a:pt x="770021" y="713104"/>
                  <a:pt x="1540042" y="-147154"/>
                  <a:pt x="2899610" y="21288"/>
                </a:cubicBezTo>
                <a:cubicBezTo>
                  <a:pt x="4259178" y="189730"/>
                  <a:pt x="6996363" y="2192988"/>
                  <a:pt x="8157410" y="2584014"/>
                </a:cubicBezTo>
                <a:cubicBezTo>
                  <a:pt x="9318457" y="2975040"/>
                  <a:pt x="9569115" y="2429609"/>
                  <a:pt x="9865894" y="2367446"/>
                </a:cubicBezTo>
                <a:cubicBezTo>
                  <a:pt x="10162673" y="2305283"/>
                  <a:pt x="9940089" y="2245126"/>
                  <a:pt x="9938084" y="2211036"/>
                </a:cubicBezTo>
                <a:cubicBezTo>
                  <a:pt x="9936079" y="2176947"/>
                  <a:pt x="9853863" y="2162909"/>
                  <a:pt x="9853863" y="2162909"/>
                </a:cubicBezTo>
              </a:path>
            </a:pathLst>
          </a:custGeom>
          <a:no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pt-BR" sz="1463" kern="0">
              <a:solidFill>
                <a:srgbClr val="575757"/>
              </a:solidFill>
            </a:endParaRPr>
          </a:p>
        </p:txBody>
      </p:sp>
      <p:sp>
        <p:nvSpPr>
          <p:cNvPr id="5" name="Rectangle 1"/>
          <p:cNvSpPr>
            <a:spLocks noChangeArrowheads="1"/>
          </p:cNvSpPr>
          <p:nvPr/>
        </p:nvSpPr>
        <p:spPr bwMode="auto">
          <a:xfrm>
            <a:off x="1143002" y="461876"/>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6" name="Rectangle 2"/>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7" name="Rectangle 3"/>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8" name="Rectangle 4"/>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9" name="Rectangle 5"/>
          <p:cNvSpPr>
            <a:spLocks noChangeArrowheads="1"/>
          </p:cNvSpPr>
          <p:nvPr/>
        </p:nvSpPr>
        <p:spPr bwMode="auto">
          <a:xfrm>
            <a:off x="1143002" y="461876"/>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10" name="Rectangle 6"/>
          <p:cNvSpPr>
            <a:spLocks noChangeArrowheads="1"/>
          </p:cNvSpPr>
          <p:nvPr/>
        </p:nvSpPr>
        <p:spPr bwMode="auto">
          <a:xfrm>
            <a:off x="1143002" y="276139"/>
            <a:ext cx="200119" cy="733599"/>
          </a:xfrm>
          <a:prstGeom prst="rect">
            <a:avLst/>
          </a:prstGeom>
          <a:noFill/>
          <a:ln w="9525">
            <a:noFill/>
            <a:miter lim="800000"/>
            <a:headEnd/>
            <a:tailEnd/>
          </a:ln>
          <a:effectLst/>
        </p:spPr>
        <p:txBody>
          <a:bodyPr vert="horz" wrap="none" lIns="99060" tIns="49530" rIns="99060" bIns="49530" numCol="1" anchor="ctr" anchorCtr="0" compatLnSpc="1">
            <a:prstTxWarp prst="textNoShape">
              <a:avLst/>
            </a:prstTxWarp>
            <a:spAutoFit/>
          </a:bodyPr>
          <a:lstStyle/>
          <a:p>
            <a:pPr fontAlgn="base">
              <a:spcBef>
                <a:spcPct val="0"/>
              </a:spcBef>
              <a:spcAft>
                <a:spcPct val="0"/>
              </a:spcAft>
            </a:pPr>
            <a:br>
              <a:rPr lang="en-US" sz="1300" dirty="0">
                <a:solidFill>
                  <a:prstClr val="black"/>
                </a:solidFill>
                <a:latin typeface="Henderson BCG Sans" panose="020B0502030402020204" pitchFamily="34" charset="0"/>
                <a:ea typeface="Times New Roman" pitchFamily="18" charset="0"/>
                <a:cs typeface="Henderson BCG Sans" panose="020B0502030402020204" pitchFamily="34" charset="0"/>
                <a:sym typeface="Henderson BCG Sans" panose="020B0502030402020204" pitchFamily="34" charset="0"/>
              </a:rPr>
            </a:br>
            <a:endParaRPr lang="en-US" sz="867" dirty="0">
              <a:solidFill>
                <a:prstClr val="black"/>
              </a:solidFill>
              <a:latin typeface="Henderson BCG Sans" panose="020B0502030402020204" pitchFamily="34" charset="0"/>
              <a:cs typeface="Henderson BCG Sans" panose="020B0502030402020204" pitchFamily="34" charset="0"/>
              <a:sym typeface="Henderson BCG Sans" panose="020B0502030402020204" pitchFamily="34" charset="0"/>
            </a:endParaRPr>
          </a:p>
          <a:p>
            <a:pPr eaLnBrk="0" fontAlgn="base" hangingPunct="0">
              <a:spcBef>
                <a:spcPct val="0"/>
              </a:spcBef>
              <a:spcAft>
                <a:spcPct val="0"/>
              </a:spcAft>
            </a:pPr>
            <a:endParaRPr lang="en-US" sz="1950" dirty="0">
              <a:solidFill>
                <a:prstClr val="black"/>
              </a:solidFill>
              <a:latin typeface="Arial" pitchFamily="34" charset="0"/>
            </a:endParaRPr>
          </a:p>
        </p:txBody>
      </p:sp>
      <p:sp>
        <p:nvSpPr>
          <p:cNvPr id="11" name="Rectangle 2"/>
          <p:cNvSpPr>
            <a:spLocks noChangeArrowheads="1"/>
          </p:cNvSpPr>
          <p:nvPr/>
        </p:nvSpPr>
        <p:spPr bwMode="auto">
          <a:xfrm>
            <a:off x="1143002" y="442884"/>
            <a:ext cx="20011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9060" tIns="49530" rIns="99060" bIns="49530" numCol="1" anchor="ctr" anchorCtr="0" compatLnSpc="1">
            <a:prstTxWarp prst="textNoShape">
              <a:avLst/>
            </a:prstTxWarp>
            <a:spAutoFit/>
          </a:bodyPr>
          <a:lstStyle/>
          <a:p>
            <a:pPr defTabSz="990576" eaLnBrk="0" fontAlgn="base" hangingPunct="0">
              <a:spcBef>
                <a:spcPct val="0"/>
              </a:spcBef>
              <a:spcAft>
                <a:spcPct val="0"/>
              </a:spcAft>
            </a:pPr>
            <a:endParaRPr lang="en-US" altLang="en-US" sz="1950" dirty="0">
              <a:latin typeface="Henderson BCG Sans" panose="020B0502030402020204" pitchFamily="34" charset="0"/>
              <a:cs typeface="Henderson BCG Sans" panose="020B0502030402020204" pitchFamily="34" charset="0"/>
              <a:sym typeface="Henderson BCG Sans" panose="020B0502030402020204" pitchFamily="34" charset="0"/>
            </a:endParaRPr>
          </a:p>
        </p:txBody>
      </p:sp>
      <p:sp>
        <p:nvSpPr>
          <p:cNvPr id="32" name="Title 2"/>
          <p:cNvSpPr txBox="1">
            <a:spLocks/>
          </p:cNvSpPr>
          <p:nvPr/>
        </p:nvSpPr>
        <p:spPr>
          <a:xfrm>
            <a:off x="349394" y="1053760"/>
            <a:ext cx="11450124"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800" kern="1200">
                <a:solidFill>
                  <a:schemeClr val="tx2"/>
                </a:solidFill>
                <a:latin typeface="Trebuchet MS" panose="020B0603020202020204" pitchFamily="34" charset="0"/>
                <a:ea typeface="+mj-ea"/>
                <a:cs typeface="+mj-cs"/>
                <a:sym typeface="Trebuchet MS" panose="020B0603020202020204" pitchFamily="34" charset="0"/>
              </a:defRPr>
            </a:lvl1pPr>
          </a:lstStyle>
          <a:p>
            <a:r>
              <a:rPr lang="pt-BR" sz="2400" dirty="0">
                <a:latin typeface="Open Sans"/>
              </a:rPr>
              <a:t>O guia </a:t>
            </a:r>
            <a:r>
              <a:rPr lang="pt-BR" sz="2400" i="1" dirty="0" err="1">
                <a:latin typeface="Open Sans"/>
              </a:rPr>
              <a:t>ex-ante</a:t>
            </a:r>
            <a:r>
              <a:rPr lang="pt-BR" sz="2400" dirty="0">
                <a:latin typeface="Open Sans"/>
              </a:rPr>
              <a:t> inclui os diversos aspectos necessários para a construção de políticas públicas eficazes</a:t>
            </a:r>
          </a:p>
        </p:txBody>
      </p:sp>
      <p:sp>
        <p:nvSpPr>
          <p:cNvPr id="36" name="Oval 35"/>
          <p:cNvSpPr>
            <a:spLocks noChangeAspect="1"/>
          </p:cNvSpPr>
          <p:nvPr/>
        </p:nvSpPr>
        <p:spPr>
          <a:xfrm>
            <a:off x="1723112" y="3788311"/>
            <a:ext cx="879633"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37" name="bcgIcons_MagnifyingGlassSearch">
            <a:extLst>
              <a:ext uri="{FF2B5EF4-FFF2-40B4-BE49-F238E27FC236}">
                <a16:creationId xmlns:a16="http://schemas.microsoft.com/office/drawing/2014/main" id="{4F099AF5-3F1F-442A-8164-40E1EF5790A0}"/>
              </a:ext>
            </a:extLst>
          </p:cNvPr>
          <p:cNvGrpSpPr>
            <a:grpSpLocks noChangeAspect="1"/>
          </p:cNvGrpSpPr>
          <p:nvPr/>
        </p:nvGrpSpPr>
        <p:grpSpPr bwMode="auto">
          <a:xfrm>
            <a:off x="1787634" y="3830318"/>
            <a:ext cx="771382" cy="823241"/>
            <a:chOff x="1682" y="0"/>
            <a:chExt cx="4316" cy="4320"/>
          </a:xfrm>
        </p:grpSpPr>
        <p:sp>
          <p:nvSpPr>
            <p:cNvPr id="38" name="AutoShape 8">
              <a:extLst>
                <a:ext uri="{FF2B5EF4-FFF2-40B4-BE49-F238E27FC236}">
                  <a16:creationId xmlns:a16="http://schemas.microsoft.com/office/drawing/2014/main" id="{D00C3367-A1F1-486E-869A-AE901B8222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39" name="Freeform 10">
              <a:extLst>
                <a:ext uri="{FF2B5EF4-FFF2-40B4-BE49-F238E27FC236}">
                  <a16:creationId xmlns:a16="http://schemas.microsoft.com/office/drawing/2014/main" id="{2427C64B-B531-4BD9-B3E5-B07257186B30}"/>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40" name="Freeform 11">
              <a:extLst>
                <a:ext uri="{FF2B5EF4-FFF2-40B4-BE49-F238E27FC236}">
                  <a16:creationId xmlns:a16="http://schemas.microsoft.com/office/drawing/2014/main" id="{1173B41E-AE04-4090-AE4B-50B33B897C30}"/>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nvGrpSpPr>
          <p:cNvPr id="3" name="Group 2"/>
          <p:cNvGrpSpPr/>
          <p:nvPr/>
        </p:nvGrpSpPr>
        <p:grpSpPr>
          <a:xfrm>
            <a:off x="6523185" y="3621561"/>
            <a:ext cx="937901" cy="907515"/>
            <a:chOff x="2291813" y="1775626"/>
            <a:chExt cx="937901" cy="907515"/>
          </a:xfrm>
        </p:grpSpPr>
        <p:sp>
          <p:nvSpPr>
            <p:cNvPr id="44" name="Oval 43"/>
            <p:cNvSpPr>
              <a:spLocks noChangeAspect="1"/>
            </p:cNvSpPr>
            <p:nvPr/>
          </p:nvSpPr>
          <p:spPr>
            <a:xfrm>
              <a:off x="2291813" y="1775626"/>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45" name="Group 44"/>
            <p:cNvGrpSpPr/>
            <p:nvPr/>
          </p:nvGrpSpPr>
          <p:grpSpPr>
            <a:xfrm>
              <a:off x="2419378" y="1898751"/>
              <a:ext cx="682772" cy="661264"/>
              <a:chOff x="4416820" y="4500323"/>
              <a:chExt cx="782108" cy="757471"/>
            </a:xfrm>
          </p:grpSpPr>
          <p:sp>
            <p:nvSpPr>
              <p:cNvPr id="46" name="AutoShape 3"/>
              <p:cNvSpPr>
                <a:spLocks noChangeAspect="1" noChangeArrowheads="1" noTextEdit="1"/>
              </p:cNvSpPr>
              <p:nvPr/>
            </p:nvSpPr>
            <p:spPr bwMode="auto">
              <a:xfrm>
                <a:off x="4416820" y="4500323"/>
                <a:ext cx="782108" cy="757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5"/>
              <p:cNvSpPr>
                <a:spLocks noEditPoints="1"/>
              </p:cNvSpPr>
              <p:nvPr/>
            </p:nvSpPr>
            <p:spPr bwMode="auto">
              <a:xfrm>
                <a:off x="4886882" y="4649187"/>
                <a:ext cx="279065" cy="265641"/>
              </a:xfrm>
              <a:custGeom>
                <a:avLst/>
                <a:gdLst>
                  <a:gd name="T0" fmla="*/ 816 w 822"/>
                  <a:gd name="T1" fmla="*/ 362 h 808"/>
                  <a:gd name="T2" fmla="*/ 758 w 822"/>
                  <a:gd name="T3" fmla="*/ 327 h 808"/>
                  <a:gd name="T4" fmla="*/ 736 w 822"/>
                  <a:gd name="T5" fmla="*/ 261 h 808"/>
                  <a:gd name="T6" fmla="*/ 701 w 822"/>
                  <a:gd name="T7" fmla="*/ 196 h 808"/>
                  <a:gd name="T8" fmla="*/ 714 w 822"/>
                  <a:gd name="T9" fmla="*/ 130 h 808"/>
                  <a:gd name="T10" fmla="*/ 575 w 822"/>
                  <a:gd name="T11" fmla="*/ 28 h 808"/>
                  <a:gd name="T12" fmla="*/ 515 w 822"/>
                  <a:gd name="T13" fmla="*/ 62 h 808"/>
                  <a:gd name="T14" fmla="*/ 384 w 822"/>
                  <a:gd name="T15" fmla="*/ 47 h 808"/>
                  <a:gd name="T16" fmla="*/ 333 w 822"/>
                  <a:gd name="T17" fmla="*/ 0 h 808"/>
                  <a:gd name="T18" fmla="*/ 249 w 822"/>
                  <a:gd name="T19" fmla="*/ 26 h 808"/>
                  <a:gd name="T20" fmla="*/ 173 w 822"/>
                  <a:gd name="T21" fmla="*/ 69 h 808"/>
                  <a:gd name="T22" fmla="*/ 173 w 822"/>
                  <a:gd name="T23" fmla="*/ 140 h 808"/>
                  <a:gd name="T24" fmla="*/ 92 w 822"/>
                  <a:gd name="T25" fmla="*/ 246 h 808"/>
                  <a:gd name="T26" fmla="*/ 27 w 822"/>
                  <a:gd name="T27" fmla="*/ 267 h 808"/>
                  <a:gd name="T28" fmla="*/ 4 w 822"/>
                  <a:gd name="T29" fmla="*/ 441 h 808"/>
                  <a:gd name="T30" fmla="*/ 62 w 822"/>
                  <a:gd name="T31" fmla="*/ 475 h 808"/>
                  <a:gd name="T32" fmla="*/ 85 w 822"/>
                  <a:gd name="T33" fmla="*/ 546 h 808"/>
                  <a:gd name="T34" fmla="*/ 118 w 822"/>
                  <a:gd name="T35" fmla="*/ 607 h 808"/>
                  <a:gd name="T36" fmla="*/ 102 w 822"/>
                  <a:gd name="T37" fmla="*/ 673 h 808"/>
                  <a:gd name="T38" fmla="*/ 237 w 822"/>
                  <a:gd name="T39" fmla="*/ 777 h 808"/>
                  <a:gd name="T40" fmla="*/ 295 w 822"/>
                  <a:gd name="T41" fmla="*/ 743 h 808"/>
                  <a:gd name="T42" fmla="*/ 442 w 822"/>
                  <a:gd name="T43" fmla="*/ 762 h 808"/>
                  <a:gd name="T44" fmla="*/ 493 w 822"/>
                  <a:gd name="T45" fmla="*/ 808 h 808"/>
                  <a:gd name="T46" fmla="*/ 572 w 822"/>
                  <a:gd name="T47" fmla="*/ 783 h 808"/>
                  <a:gd name="T48" fmla="*/ 646 w 822"/>
                  <a:gd name="T49" fmla="*/ 741 h 808"/>
                  <a:gd name="T50" fmla="*/ 646 w 822"/>
                  <a:gd name="T51" fmla="*/ 673 h 808"/>
                  <a:gd name="T52" fmla="*/ 734 w 822"/>
                  <a:gd name="T53" fmla="*/ 552 h 808"/>
                  <a:gd name="T54" fmla="*/ 797 w 822"/>
                  <a:gd name="T55" fmla="*/ 532 h 808"/>
                  <a:gd name="T56" fmla="*/ 816 w 822"/>
                  <a:gd name="T57" fmla="*/ 362 h 808"/>
                  <a:gd name="T58" fmla="*/ 482 w 822"/>
                  <a:gd name="T59" fmla="*/ 569 h 808"/>
                  <a:gd name="T60" fmla="*/ 247 w 822"/>
                  <a:gd name="T61" fmla="*/ 475 h 808"/>
                  <a:gd name="T62" fmla="*/ 339 w 822"/>
                  <a:gd name="T63" fmla="*/ 239 h 808"/>
                  <a:gd name="T64" fmla="*/ 573 w 822"/>
                  <a:gd name="T65" fmla="*/ 333 h 808"/>
                  <a:gd name="T66" fmla="*/ 482 w 822"/>
                  <a:gd name="T67" fmla="*/ 56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2" h="808">
                    <a:moveTo>
                      <a:pt x="816" y="362"/>
                    </a:moveTo>
                    <a:cubicBezTo>
                      <a:pt x="758" y="327"/>
                      <a:pt x="758" y="327"/>
                      <a:pt x="758" y="327"/>
                    </a:cubicBezTo>
                    <a:cubicBezTo>
                      <a:pt x="753" y="305"/>
                      <a:pt x="745" y="283"/>
                      <a:pt x="736" y="261"/>
                    </a:cubicBezTo>
                    <a:cubicBezTo>
                      <a:pt x="727" y="239"/>
                      <a:pt x="714" y="217"/>
                      <a:pt x="701" y="196"/>
                    </a:cubicBezTo>
                    <a:cubicBezTo>
                      <a:pt x="714" y="130"/>
                      <a:pt x="714" y="130"/>
                      <a:pt x="714" y="130"/>
                    </a:cubicBezTo>
                    <a:cubicBezTo>
                      <a:pt x="676" y="87"/>
                      <a:pt x="627" y="51"/>
                      <a:pt x="575" y="28"/>
                    </a:cubicBezTo>
                    <a:cubicBezTo>
                      <a:pt x="515" y="62"/>
                      <a:pt x="515" y="62"/>
                      <a:pt x="515" y="62"/>
                    </a:cubicBezTo>
                    <a:cubicBezTo>
                      <a:pt x="472" y="48"/>
                      <a:pt x="429" y="43"/>
                      <a:pt x="384" y="47"/>
                    </a:cubicBezTo>
                    <a:cubicBezTo>
                      <a:pt x="333" y="0"/>
                      <a:pt x="333" y="0"/>
                      <a:pt x="333" y="0"/>
                    </a:cubicBezTo>
                    <a:cubicBezTo>
                      <a:pt x="305" y="6"/>
                      <a:pt x="277" y="13"/>
                      <a:pt x="249" y="26"/>
                    </a:cubicBezTo>
                    <a:cubicBezTo>
                      <a:pt x="222" y="38"/>
                      <a:pt x="195" y="53"/>
                      <a:pt x="173" y="69"/>
                    </a:cubicBezTo>
                    <a:cubicBezTo>
                      <a:pt x="173" y="140"/>
                      <a:pt x="173" y="140"/>
                      <a:pt x="173" y="140"/>
                    </a:cubicBezTo>
                    <a:cubicBezTo>
                      <a:pt x="139" y="171"/>
                      <a:pt x="111" y="206"/>
                      <a:pt x="92" y="246"/>
                    </a:cubicBezTo>
                    <a:cubicBezTo>
                      <a:pt x="27" y="267"/>
                      <a:pt x="27" y="267"/>
                      <a:pt x="27" y="267"/>
                    </a:cubicBezTo>
                    <a:cubicBezTo>
                      <a:pt x="7" y="321"/>
                      <a:pt x="0" y="380"/>
                      <a:pt x="4" y="441"/>
                    </a:cubicBezTo>
                    <a:cubicBezTo>
                      <a:pt x="62" y="475"/>
                      <a:pt x="62" y="475"/>
                      <a:pt x="62" y="475"/>
                    </a:cubicBezTo>
                    <a:cubicBezTo>
                      <a:pt x="67" y="498"/>
                      <a:pt x="74" y="523"/>
                      <a:pt x="85" y="546"/>
                    </a:cubicBezTo>
                    <a:cubicBezTo>
                      <a:pt x="95" y="567"/>
                      <a:pt x="105" y="588"/>
                      <a:pt x="118" y="607"/>
                    </a:cubicBezTo>
                    <a:cubicBezTo>
                      <a:pt x="102" y="673"/>
                      <a:pt x="102" y="673"/>
                      <a:pt x="102" y="673"/>
                    </a:cubicBezTo>
                    <a:cubicBezTo>
                      <a:pt x="140" y="718"/>
                      <a:pt x="186" y="752"/>
                      <a:pt x="237" y="777"/>
                    </a:cubicBezTo>
                    <a:cubicBezTo>
                      <a:pt x="295" y="743"/>
                      <a:pt x="295" y="743"/>
                      <a:pt x="295" y="743"/>
                    </a:cubicBezTo>
                    <a:cubicBezTo>
                      <a:pt x="342" y="760"/>
                      <a:pt x="391" y="766"/>
                      <a:pt x="442" y="762"/>
                    </a:cubicBezTo>
                    <a:cubicBezTo>
                      <a:pt x="493" y="808"/>
                      <a:pt x="493" y="808"/>
                      <a:pt x="493" y="808"/>
                    </a:cubicBezTo>
                    <a:cubicBezTo>
                      <a:pt x="518" y="802"/>
                      <a:pt x="546" y="794"/>
                      <a:pt x="572" y="783"/>
                    </a:cubicBezTo>
                    <a:cubicBezTo>
                      <a:pt x="598" y="771"/>
                      <a:pt x="622" y="757"/>
                      <a:pt x="646" y="741"/>
                    </a:cubicBezTo>
                    <a:cubicBezTo>
                      <a:pt x="646" y="673"/>
                      <a:pt x="646" y="673"/>
                      <a:pt x="646" y="673"/>
                    </a:cubicBezTo>
                    <a:cubicBezTo>
                      <a:pt x="683" y="639"/>
                      <a:pt x="713" y="597"/>
                      <a:pt x="734" y="552"/>
                    </a:cubicBezTo>
                    <a:cubicBezTo>
                      <a:pt x="797" y="532"/>
                      <a:pt x="797" y="532"/>
                      <a:pt x="797" y="532"/>
                    </a:cubicBezTo>
                    <a:cubicBezTo>
                      <a:pt x="816" y="479"/>
                      <a:pt x="822" y="420"/>
                      <a:pt x="816" y="362"/>
                    </a:cubicBezTo>
                    <a:close/>
                    <a:moveTo>
                      <a:pt x="482" y="569"/>
                    </a:moveTo>
                    <a:cubicBezTo>
                      <a:pt x="391" y="610"/>
                      <a:pt x="286" y="566"/>
                      <a:pt x="247" y="475"/>
                    </a:cubicBezTo>
                    <a:cubicBezTo>
                      <a:pt x="208" y="383"/>
                      <a:pt x="249" y="278"/>
                      <a:pt x="339" y="239"/>
                    </a:cubicBezTo>
                    <a:cubicBezTo>
                      <a:pt x="430" y="199"/>
                      <a:pt x="536" y="242"/>
                      <a:pt x="573" y="333"/>
                    </a:cubicBezTo>
                    <a:cubicBezTo>
                      <a:pt x="613" y="424"/>
                      <a:pt x="572" y="531"/>
                      <a:pt x="482" y="56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6"/>
              <p:cNvSpPr>
                <a:spLocks noEditPoints="1"/>
              </p:cNvSpPr>
              <p:nvPr/>
            </p:nvSpPr>
            <p:spPr bwMode="auto">
              <a:xfrm>
                <a:off x="4449800" y="4664442"/>
                <a:ext cx="462270" cy="443085"/>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Oval 7"/>
              <p:cNvSpPr>
                <a:spLocks noChangeArrowheads="1"/>
              </p:cNvSpPr>
              <p:nvPr/>
            </p:nvSpPr>
            <p:spPr bwMode="auto">
              <a:xfrm>
                <a:off x="4617421" y="4827158"/>
                <a:ext cx="127392" cy="123264"/>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Freeform 8"/>
              <p:cNvSpPr>
                <a:spLocks noEditPoints="1"/>
              </p:cNvSpPr>
              <p:nvPr/>
            </p:nvSpPr>
            <p:spPr bwMode="auto">
              <a:xfrm>
                <a:off x="4536601" y="4748956"/>
                <a:ext cx="288851" cy="279668"/>
              </a:xfrm>
              <a:custGeom>
                <a:avLst/>
                <a:gdLst>
                  <a:gd name="T0" fmla="*/ 425 w 851"/>
                  <a:gd name="T1" fmla="*/ 851 h 851"/>
                  <a:gd name="T2" fmla="*/ 0 w 851"/>
                  <a:gd name="T3" fmla="*/ 426 h 851"/>
                  <a:gd name="T4" fmla="*/ 425 w 851"/>
                  <a:gd name="T5" fmla="*/ 0 h 851"/>
                  <a:gd name="T6" fmla="*/ 851 w 851"/>
                  <a:gd name="T7" fmla="*/ 426 h 851"/>
                  <a:gd name="T8" fmla="*/ 425 w 851"/>
                  <a:gd name="T9" fmla="*/ 851 h 851"/>
                  <a:gd name="T10" fmla="*/ 425 w 851"/>
                  <a:gd name="T11" fmla="*/ 44 h 851"/>
                  <a:gd name="T12" fmla="*/ 44 w 851"/>
                  <a:gd name="T13" fmla="*/ 426 h 851"/>
                  <a:gd name="T14" fmla="*/ 425 w 851"/>
                  <a:gd name="T15" fmla="*/ 807 h 851"/>
                  <a:gd name="T16" fmla="*/ 807 w 851"/>
                  <a:gd name="T17" fmla="*/ 426 h 851"/>
                  <a:gd name="T18" fmla="*/ 425 w 851"/>
                  <a:gd name="T19" fmla="*/ 44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1" h="851">
                    <a:moveTo>
                      <a:pt x="425" y="851"/>
                    </a:moveTo>
                    <a:cubicBezTo>
                      <a:pt x="191" y="851"/>
                      <a:pt x="0" y="660"/>
                      <a:pt x="0" y="426"/>
                    </a:cubicBezTo>
                    <a:cubicBezTo>
                      <a:pt x="0" y="191"/>
                      <a:pt x="191" y="0"/>
                      <a:pt x="425" y="0"/>
                    </a:cubicBezTo>
                    <a:cubicBezTo>
                      <a:pt x="660" y="0"/>
                      <a:pt x="851" y="191"/>
                      <a:pt x="851" y="426"/>
                    </a:cubicBezTo>
                    <a:cubicBezTo>
                      <a:pt x="851" y="660"/>
                      <a:pt x="660" y="851"/>
                      <a:pt x="425" y="851"/>
                    </a:cubicBezTo>
                    <a:close/>
                    <a:moveTo>
                      <a:pt x="425" y="44"/>
                    </a:moveTo>
                    <a:cubicBezTo>
                      <a:pt x="215" y="44"/>
                      <a:pt x="44" y="216"/>
                      <a:pt x="44" y="426"/>
                    </a:cubicBezTo>
                    <a:cubicBezTo>
                      <a:pt x="44" y="636"/>
                      <a:pt x="215" y="807"/>
                      <a:pt x="425" y="807"/>
                    </a:cubicBezTo>
                    <a:cubicBezTo>
                      <a:pt x="636" y="807"/>
                      <a:pt x="807" y="636"/>
                      <a:pt x="807" y="426"/>
                    </a:cubicBezTo>
                    <a:cubicBezTo>
                      <a:pt x="807" y="216"/>
                      <a:pt x="636" y="44"/>
                      <a:pt x="425" y="4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51" name="TextBox 50"/>
          <p:cNvSpPr txBox="1"/>
          <p:nvPr/>
        </p:nvSpPr>
        <p:spPr>
          <a:xfrm>
            <a:off x="6650749" y="3058013"/>
            <a:ext cx="2160000" cy="492443"/>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Estratégia de implementação</a:t>
            </a:r>
          </a:p>
        </p:txBody>
      </p:sp>
      <p:sp>
        <p:nvSpPr>
          <p:cNvPr id="52" name="TextBox 51"/>
          <p:cNvSpPr txBox="1"/>
          <p:nvPr/>
        </p:nvSpPr>
        <p:spPr>
          <a:xfrm>
            <a:off x="4384706" y="3775826"/>
            <a:ext cx="1422719" cy="738664"/>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Impacto orçamentário e financeiro</a:t>
            </a:r>
            <a:endParaRPr lang="pt-BR" sz="1600" baseline="30000" dirty="0">
              <a:solidFill>
                <a:schemeClr val="tx1">
                  <a:lumMod val="100000"/>
                </a:schemeClr>
              </a:solidFill>
              <a:latin typeface="Trebuchet MS" panose="020B0603020202020204" pitchFamily="34" charset="0"/>
              <a:cs typeface="Arial" panose="020B0604020202020204" pitchFamily="34" charset="0"/>
            </a:endParaRPr>
          </a:p>
        </p:txBody>
      </p:sp>
      <p:sp>
        <p:nvSpPr>
          <p:cNvPr id="54" name="TextBox 53"/>
          <p:cNvSpPr txBox="1"/>
          <p:nvPr/>
        </p:nvSpPr>
        <p:spPr>
          <a:xfrm>
            <a:off x="1522744" y="4901047"/>
            <a:ext cx="2160000" cy="492443"/>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Diagnóstico do problema</a:t>
            </a:r>
          </a:p>
        </p:txBody>
      </p:sp>
      <p:sp>
        <p:nvSpPr>
          <p:cNvPr id="55" name="TextBox 54"/>
          <p:cNvSpPr txBox="1"/>
          <p:nvPr/>
        </p:nvSpPr>
        <p:spPr>
          <a:xfrm>
            <a:off x="9383173" y="3502275"/>
            <a:ext cx="1736606" cy="738664"/>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Monitoramento, avaliação e controle</a:t>
            </a:r>
          </a:p>
        </p:txBody>
      </p:sp>
      <p:sp>
        <p:nvSpPr>
          <p:cNvPr id="68" name="TextBox 67"/>
          <p:cNvSpPr txBox="1"/>
          <p:nvPr/>
        </p:nvSpPr>
        <p:spPr>
          <a:xfrm>
            <a:off x="7012620" y="5093473"/>
            <a:ext cx="1853540" cy="900000"/>
          </a:xfrm>
          <a:prstGeom prst="rect">
            <a:avLst/>
          </a:prstGeom>
          <a:noFill/>
        </p:spPr>
        <p:txBody>
          <a:bodyPr wrap="square" lIns="0" tIns="0" rIns="0" bIns="0" rtlCol="0" anchor="ctr" anchorCtr="0">
            <a:no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Estratégia de confiança e suporte</a:t>
            </a:r>
          </a:p>
        </p:txBody>
      </p:sp>
      <p:sp>
        <p:nvSpPr>
          <p:cNvPr id="69" name="TextBox 68"/>
          <p:cNvSpPr txBox="1"/>
          <p:nvPr/>
        </p:nvSpPr>
        <p:spPr>
          <a:xfrm>
            <a:off x="2770998" y="2044118"/>
            <a:ext cx="2346052" cy="492443"/>
          </a:xfrm>
          <a:prstGeom prst="rect">
            <a:avLst/>
          </a:prstGeom>
          <a:noFill/>
        </p:spPr>
        <p:txBody>
          <a:bodyPr wrap="square" lIns="0" tIns="0" rIns="0" bIns="0" rtlCol="0" anchor="ctr" anchorCtr="0">
            <a:spAutoFit/>
          </a:bodyPr>
          <a:lstStyle/>
          <a:p>
            <a:pPr>
              <a:buSzPct val="100000"/>
              <a:buFont typeface="Trebuchet MS" panose="020B0603020202020204" pitchFamily="34" charset="0"/>
              <a:buChar char="​"/>
            </a:pPr>
            <a:r>
              <a:rPr lang="pt-BR" sz="1600" dirty="0">
                <a:solidFill>
                  <a:schemeClr val="tx1">
                    <a:lumMod val="100000"/>
                  </a:schemeClr>
                </a:solidFill>
                <a:latin typeface="Trebuchet MS" panose="020B0603020202020204" pitchFamily="34" charset="0"/>
                <a:cs typeface="Arial" panose="020B0604020202020204" pitchFamily="34" charset="0"/>
              </a:rPr>
              <a:t>Desenho e caracterização da política</a:t>
            </a:r>
          </a:p>
        </p:txBody>
      </p:sp>
      <p:grpSp>
        <p:nvGrpSpPr>
          <p:cNvPr id="17" name="Group 16"/>
          <p:cNvGrpSpPr/>
          <p:nvPr/>
        </p:nvGrpSpPr>
        <p:grpSpPr>
          <a:xfrm>
            <a:off x="4903738" y="2843782"/>
            <a:ext cx="937901" cy="907515"/>
            <a:chOff x="8742904" y="4073070"/>
            <a:chExt cx="937901" cy="907515"/>
          </a:xfrm>
        </p:grpSpPr>
        <p:sp>
          <p:nvSpPr>
            <p:cNvPr id="71" name="Oval 70"/>
            <p:cNvSpPr>
              <a:spLocks noChangeAspect="1"/>
            </p:cNvSpPr>
            <p:nvPr/>
          </p:nvSpPr>
          <p:spPr>
            <a:xfrm>
              <a:off x="8742904" y="4073070"/>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sp>
          <p:nvSpPr>
            <p:cNvPr id="72" name="AutoShape 9">
              <a:extLst>
                <a:ext uri="{FF2B5EF4-FFF2-40B4-BE49-F238E27FC236}">
                  <a16:creationId xmlns:a16="http://schemas.microsoft.com/office/drawing/2014/main" id="{E0D198FC-C2F2-4FED-9034-D826A21FCD89}"/>
                </a:ext>
              </a:extLst>
            </p:cNvPr>
            <p:cNvSpPr>
              <a:spLocks noChangeAspect="1" noChangeArrowheads="1" noTextEdit="1"/>
            </p:cNvSpPr>
            <p:nvPr/>
          </p:nvSpPr>
          <p:spPr bwMode="auto">
            <a:xfrm>
              <a:off x="8803339" y="4117934"/>
              <a:ext cx="817030" cy="817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nvGrpSpPr>
            <p:cNvPr id="16" name="Group 15"/>
            <p:cNvGrpSpPr/>
            <p:nvPr/>
          </p:nvGrpSpPr>
          <p:grpSpPr>
            <a:xfrm>
              <a:off x="8892173" y="4339457"/>
              <a:ext cx="639364" cy="374742"/>
              <a:chOff x="8901029" y="4352050"/>
              <a:chExt cx="750017" cy="462088"/>
            </a:xfrm>
          </p:grpSpPr>
          <p:sp>
            <p:nvSpPr>
              <p:cNvPr id="73" name="Freeform 11">
                <a:extLst>
                  <a:ext uri="{FF2B5EF4-FFF2-40B4-BE49-F238E27FC236}">
                    <a16:creationId xmlns:a16="http://schemas.microsoft.com/office/drawing/2014/main" id="{BF86BFAF-8981-4474-850E-2A9237D57EBB}"/>
                  </a:ext>
                </a:extLst>
              </p:cNvPr>
              <p:cNvSpPr>
                <a:spLocks noEditPoints="1"/>
              </p:cNvSpPr>
              <p:nvPr/>
            </p:nvSpPr>
            <p:spPr bwMode="auto">
              <a:xfrm>
                <a:off x="8901029" y="4352050"/>
                <a:ext cx="750017" cy="462088"/>
              </a:xfrm>
              <a:custGeom>
                <a:avLst/>
                <a:gdLst>
                  <a:gd name="T0" fmla="*/ 154 w 2115"/>
                  <a:gd name="T1" fmla="*/ 956 h 1302"/>
                  <a:gd name="T2" fmla="*/ 144 w 2115"/>
                  <a:gd name="T3" fmla="*/ 334 h 1302"/>
                  <a:gd name="T4" fmla="*/ 573 w 2115"/>
                  <a:gd name="T5" fmla="*/ 324 h 1302"/>
                  <a:gd name="T6" fmla="*/ 573 w 2115"/>
                  <a:gd name="T7" fmla="*/ 1059 h 1302"/>
                  <a:gd name="T8" fmla="*/ 44 w 2115"/>
                  <a:gd name="T9" fmla="*/ 220 h 1302"/>
                  <a:gd name="T10" fmla="*/ 573 w 2115"/>
                  <a:gd name="T11" fmla="*/ 180 h 1302"/>
                  <a:gd name="T12" fmla="*/ 22 w 2115"/>
                  <a:gd name="T13" fmla="*/ 176 h 1302"/>
                  <a:gd name="T14" fmla="*/ 0 w 2115"/>
                  <a:gd name="T15" fmla="*/ 1081 h 1302"/>
                  <a:gd name="T16" fmla="*/ 573 w 2115"/>
                  <a:gd name="T17" fmla="*/ 1103 h 1302"/>
                  <a:gd name="T18" fmla="*/ 660 w 2115"/>
                  <a:gd name="T19" fmla="*/ 89 h 1302"/>
                  <a:gd name="T20" fmla="*/ 94 w 2115"/>
                  <a:gd name="T21" fmla="*/ 111 h 1302"/>
                  <a:gd name="T22" fmla="*/ 618 w 2115"/>
                  <a:gd name="T23" fmla="*/ 133 h 1302"/>
                  <a:gd name="T24" fmla="*/ 745 w 2115"/>
                  <a:gd name="T25" fmla="*/ 0 h 1302"/>
                  <a:gd name="T26" fmla="*/ 179 w 2115"/>
                  <a:gd name="T27" fmla="*/ 22 h 1302"/>
                  <a:gd name="T28" fmla="*/ 703 w 2115"/>
                  <a:gd name="T29" fmla="*/ 44 h 1302"/>
                  <a:gd name="T30" fmla="*/ 1882 w 2115"/>
                  <a:gd name="T31" fmla="*/ 948 h 1302"/>
                  <a:gd name="T32" fmla="*/ 1760 w 2115"/>
                  <a:gd name="T33" fmla="*/ 1286 h 1302"/>
                  <a:gd name="T34" fmla="*/ 1452 w 2115"/>
                  <a:gd name="T35" fmla="*/ 1286 h 1302"/>
                  <a:gd name="T36" fmla="*/ 1329 w 2115"/>
                  <a:gd name="T37" fmla="*/ 1168 h 1302"/>
                  <a:gd name="T38" fmla="*/ 1452 w 2115"/>
                  <a:gd name="T39" fmla="*/ 830 h 1302"/>
                  <a:gd name="T40" fmla="*/ 1760 w 2115"/>
                  <a:gd name="T41" fmla="*/ 830 h 1302"/>
                  <a:gd name="T42" fmla="*/ 1882 w 2115"/>
                  <a:gd name="T43" fmla="*/ 948 h 1302"/>
                  <a:gd name="T44" fmla="*/ 1750 w 2115"/>
                  <a:gd name="T45" fmla="*/ 873 h 1302"/>
                  <a:gd name="T46" fmla="*/ 1462 w 2115"/>
                  <a:gd name="T47" fmla="*/ 873 h 1302"/>
                  <a:gd name="T48" fmla="*/ 1373 w 2115"/>
                  <a:gd name="T49" fmla="*/ 1168 h 1302"/>
                  <a:gd name="T50" fmla="*/ 1606 w 2115"/>
                  <a:gd name="T51" fmla="*/ 1258 h 1302"/>
                  <a:gd name="T52" fmla="*/ 1838 w 2115"/>
                  <a:gd name="T53" fmla="*/ 1168 h 1302"/>
                  <a:gd name="T54" fmla="*/ 1728 w 2115"/>
                  <a:gd name="T55" fmla="*/ 325 h 1302"/>
                  <a:gd name="T56" fmla="*/ 1772 w 2115"/>
                  <a:gd name="T57" fmla="*/ 198 h 1302"/>
                  <a:gd name="T58" fmla="*/ 1246 w 2115"/>
                  <a:gd name="T59" fmla="*/ 176 h 1302"/>
                  <a:gd name="T60" fmla="*/ 1209 w 2115"/>
                  <a:gd name="T61" fmla="*/ 220 h 1302"/>
                  <a:gd name="T62" fmla="*/ 1728 w 2115"/>
                  <a:gd name="T63" fmla="*/ 325 h 1302"/>
                  <a:gd name="T64" fmla="*/ 1838 w 2115"/>
                  <a:gd name="T65" fmla="*/ 318 h 1302"/>
                  <a:gd name="T66" fmla="*/ 1866 w 2115"/>
                  <a:gd name="T67" fmla="*/ 111 h 1302"/>
                  <a:gd name="T68" fmla="*/ 1330 w 2115"/>
                  <a:gd name="T69" fmla="*/ 89 h 1302"/>
                  <a:gd name="T70" fmla="*/ 1822 w 2115"/>
                  <a:gd name="T71" fmla="*/ 133 h 1302"/>
                  <a:gd name="T72" fmla="*/ 1907 w 2115"/>
                  <a:gd name="T73" fmla="*/ 321 h 1302"/>
                  <a:gd name="T74" fmla="*/ 1951 w 2115"/>
                  <a:gd name="T75" fmla="*/ 22 h 1302"/>
                  <a:gd name="T76" fmla="*/ 1415 w 2115"/>
                  <a:gd name="T77" fmla="*/ 0 h 1302"/>
                  <a:gd name="T78" fmla="*/ 1907 w 2115"/>
                  <a:gd name="T79" fmla="*/ 44 h 1302"/>
                  <a:gd name="T80" fmla="*/ 1285 w 2115"/>
                  <a:gd name="T81" fmla="*/ 1059 h 1302"/>
                  <a:gd name="T82" fmla="*/ 1209 w 2115"/>
                  <a:gd name="T83" fmla="*/ 1103 h 1302"/>
                  <a:gd name="T84" fmla="*/ 1285 w 2115"/>
                  <a:gd name="T85" fmla="*/ 1059 h 1302"/>
                  <a:gd name="T86" fmla="*/ 1441 w 2115"/>
                  <a:gd name="T87" fmla="*/ 787 h 1302"/>
                  <a:gd name="T88" fmla="*/ 1518 w 2115"/>
                  <a:gd name="T89" fmla="*/ 496 h 1302"/>
                  <a:gd name="T90" fmla="*/ 1629 w 2115"/>
                  <a:gd name="T91" fmla="*/ 334 h 1302"/>
                  <a:gd name="T92" fmla="*/ 1209 w 2115"/>
                  <a:gd name="T93" fmla="*/ 324 h 1302"/>
                  <a:gd name="T94" fmla="*/ 1285 w 2115"/>
                  <a:gd name="T95" fmla="*/ 956 h 1302"/>
                  <a:gd name="T96" fmla="*/ 2057 w 2115"/>
                  <a:gd name="T97" fmla="*/ 403 h 1302"/>
                  <a:gd name="T98" fmla="*/ 1838 w 2115"/>
                  <a:gd name="T99" fmla="*/ 362 h 1302"/>
                  <a:gd name="T100" fmla="*/ 1562 w 2115"/>
                  <a:gd name="T101" fmla="*/ 496 h 1302"/>
                  <a:gd name="T102" fmla="*/ 1606 w 2115"/>
                  <a:gd name="T103" fmla="*/ 770 h 1302"/>
                  <a:gd name="T104" fmla="*/ 1606 w 2115"/>
                  <a:gd name="T105" fmla="*/ 496 h 1302"/>
                  <a:gd name="T106" fmla="*/ 1838 w 2115"/>
                  <a:gd name="T107" fmla="*/ 406 h 1302"/>
                  <a:gd name="T108" fmla="*/ 2071 w 2115"/>
                  <a:gd name="T109" fmla="*/ 496 h 1302"/>
                  <a:gd name="T110" fmla="*/ 1982 w 2115"/>
                  <a:gd name="T111" fmla="*/ 1130 h 1302"/>
                  <a:gd name="T112" fmla="*/ 1926 w 2115"/>
                  <a:gd name="T113" fmla="*/ 1168 h 1302"/>
                  <a:gd name="T114" fmla="*/ 1992 w 2115"/>
                  <a:gd name="T115" fmla="*/ 1173 h 1302"/>
                  <a:gd name="T116" fmla="*/ 2115 w 2115"/>
                  <a:gd name="T117" fmla="*/ 496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15" h="1302">
                    <a:moveTo>
                      <a:pt x="573" y="956"/>
                    </a:moveTo>
                    <a:cubicBezTo>
                      <a:pt x="154" y="956"/>
                      <a:pt x="154" y="956"/>
                      <a:pt x="154" y="956"/>
                    </a:cubicBezTo>
                    <a:cubicBezTo>
                      <a:pt x="148" y="956"/>
                      <a:pt x="144" y="951"/>
                      <a:pt x="144" y="946"/>
                    </a:cubicBezTo>
                    <a:cubicBezTo>
                      <a:pt x="144" y="334"/>
                      <a:pt x="144" y="334"/>
                      <a:pt x="144" y="334"/>
                    </a:cubicBezTo>
                    <a:cubicBezTo>
                      <a:pt x="144" y="328"/>
                      <a:pt x="148" y="324"/>
                      <a:pt x="154" y="324"/>
                    </a:cubicBezTo>
                    <a:cubicBezTo>
                      <a:pt x="573" y="324"/>
                      <a:pt x="573" y="324"/>
                      <a:pt x="573" y="324"/>
                    </a:cubicBezTo>
                    <a:lnTo>
                      <a:pt x="573" y="956"/>
                    </a:lnTo>
                    <a:close/>
                    <a:moveTo>
                      <a:pt x="573" y="1059"/>
                    </a:moveTo>
                    <a:cubicBezTo>
                      <a:pt x="44" y="1059"/>
                      <a:pt x="44" y="1059"/>
                      <a:pt x="44" y="1059"/>
                    </a:cubicBezTo>
                    <a:cubicBezTo>
                      <a:pt x="44" y="220"/>
                      <a:pt x="44" y="220"/>
                      <a:pt x="44" y="220"/>
                    </a:cubicBezTo>
                    <a:cubicBezTo>
                      <a:pt x="573" y="220"/>
                      <a:pt x="573" y="220"/>
                      <a:pt x="573" y="220"/>
                    </a:cubicBezTo>
                    <a:cubicBezTo>
                      <a:pt x="573" y="180"/>
                      <a:pt x="573" y="180"/>
                      <a:pt x="573" y="180"/>
                    </a:cubicBezTo>
                    <a:cubicBezTo>
                      <a:pt x="576" y="176"/>
                      <a:pt x="576" y="176"/>
                      <a:pt x="576" y="176"/>
                    </a:cubicBezTo>
                    <a:cubicBezTo>
                      <a:pt x="22" y="176"/>
                      <a:pt x="22" y="176"/>
                      <a:pt x="22" y="176"/>
                    </a:cubicBezTo>
                    <a:cubicBezTo>
                      <a:pt x="10" y="176"/>
                      <a:pt x="0" y="186"/>
                      <a:pt x="0" y="198"/>
                    </a:cubicBezTo>
                    <a:cubicBezTo>
                      <a:pt x="0" y="1081"/>
                      <a:pt x="0" y="1081"/>
                      <a:pt x="0" y="1081"/>
                    </a:cubicBezTo>
                    <a:cubicBezTo>
                      <a:pt x="0" y="1093"/>
                      <a:pt x="10" y="1103"/>
                      <a:pt x="22" y="1103"/>
                    </a:cubicBezTo>
                    <a:cubicBezTo>
                      <a:pt x="573" y="1103"/>
                      <a:pt x="573" y="1103"/>
                      <a:pt x="573" y="1103"/>
                    </a:cubicBezTo>
                    <a:lnTo>
                      <a:pt x="573" y="1059"/>
                    </a:lnTo>
                    <a:close/>
                    <a:moveTo>
                      <a:pt x="660" y="89"/>
                    </a:moveTo>
                    <a:cubicBezTo>
                      <a:pt x="116" y="89"/>
                      <a:pt x="116" y="89"/>
                      <a:pt x="116" y="89"/>
                    </a:cubicBezTo>
                    <a:cubicBezTo>
                      <a:pt x="104" y="89"/>
                      <a:pt x="94" y="99"/>
                      <a:pt x="94" y="111"/>
                    </a:cubicBezTo>
                    <a:cubicBezTo>
                      <a:pt x="94" y="123"/>
                      <a:pt x="104" y="133"/>
                      <a:pt x="116" y="133"/>
                    </a:cubicBezTo>
                    <a:cubicBezTo>
                      <a:pt x="618" y="133"/>
                      <a:pt x="618" y="133"/>
                      <a:pt x="618" y="133"/>
                    </a:cubicBezTo>
                    <a:lnTo>
                      <a:pt x="660" y="89"/>
                    </a:lnTo>
                    <a:close/>
                    <a:moveTo>
                      <a:pt x="745" y="0"/>
                    </a:moveTo>
                    <a:cubicBezTo>
                      <a:pt x="201" y="0"/>
                      <a:pt x="201" y="0"/>
                      <a:pt x="201" y="0"/>
                    </a:cubicBezTo>
                    <a:cubicBezTo>
                      <a:pt x="189" y="0"/>
                      <a:pt x="179" y="10"/>
                      <a:pt x="179" y="22"/>
                    </a:cubicBezTo>
                    <a:cubicBezTo>
                      <a:pt x="179" y="35"/>
                      <a:pt x="189" y="44"/>
                      <a:pt x="201" y="44"/>
                    </a:cubicBezTo>
                    <a:cubicBezTo>
                      <a:pt x="703" y="44"/>
                      <a:pt x="703" y="44"/>
                      <a:pt x="703" y="44"/>
                    </a:cubicBezTo>
                    <a:lnTo>
                      <a:pt x="745" y="0"/>
                    </a:lnTo>
                    <a:close/>
                    <a:moveTo>
                      <a:pt x="1882" y="948"/>
                    </a:moveTo>
                    <a:cubicBezTo>
                      <a:pt x="1882" y="1168"/>
                      <a:pt x="1882" y="1168"/>
                      <a:pt x="1882" y="1168"/>
                    </a:cubicBezTo>
                    <a:cubicBezTo>
                      <a:pt x="1882" y="1208"/>
                      <a:pt x="1861" y="1261"/>
                      <a:pt x="1760" y="1286"/>
                    </a:cubicBezTo>
                    <a:cubicBezTo>
                      <a:pt x="1718" y="1296"/>
                      <a:pt x="1663" y="1302"/>
                      <a:pt x="1606" y="1302"/>
                    </a:cubicBezTo>
                    <a:cubicBezTo>
                      <a:pt x="1549" y="1302"/>
                      <a:pt x="1494" y="1296"/>
                      <a:pt x="1452" y="1286"/>
                    </a:cubicBezTo>
                    <a:cubicBezTo>
                      <a:pt x="1439" y="1283"/>
                      <a:pt x="1412" y="1276"/>
                      <a:pt x="1387" y="1262"/>
                    </a:cubicBezTo>
                    <a:cubicBezTo>
                      <a:pt x="1350" y="1240"/>
                      <a:pt x="1329" y="1207"/>
                      <a:pt x="1329" y="1168"/>
                    </a:cubicBezTo>
                    <a:cubicBezTo>
                      <a:pt x="1329" y="948"/>
                      <a:pt x="1329" y="948"/>
                      <a:pt x="1329" y="948"/>
                    </a:cubicBezTo>
                    <a:cubicBezTo>
                      <a:pt x="1329" y="908"/>
                      <a:pt x="1350" y="855"/>
                      <a:pt x="1452" y="830"/>
                    </a:cubicBezTo>
                    <a:cubicBezTo>
                      <a:pt x="1494" y="820"/>
                      <a:pt x="1549" y="814"/>
                      <a:pt x="1606" y="814"/>
                    </a:cubicBezTo>
                    <a:cubicBezTo>
                      <a:pt x="1663" y="814"/>
                      <a:pt x="1718" y="820"/>
                      <a:pt x="1760" y="830"/>
                    </a:cubicBezTo>
                    <a:cubicBezTo>
                      <a:pt x="1773" y="833"/>
                      <a:pt x="1799" y="840"/>
                      <a:pt x="1824" y="854"/>
                    </a:cubicBezTo>
                    <a:cubicBezTo>
                      <a:pt x="1862" y="876"/>
                      <a:pt x="1882" y="910"/>
                      <a:pt x="1882" y="948"/>
                    </a:cubicBezTo>
                    <a:close/>
                    <a:moveTo>
                      <a:pt x="1838" y="948"/>
                    </a:moveTo>
                    <a:cubicBezTo>
                      <a:pt x="1838" y="894"/>
                      <a:pt x="1771" y="878"/>
                      <a:pt x="1750" y="873"/>
                    </a:cubicBezTo>
                    <a:cubicBezTo>
                      <a:pt x="1711" y="863"/>
                      <a:pt x="1660" y="858"/>
                      <a:pt x="1606" y="858"/>
                    </a:cubicBezTo>
                    <a:cubicBezTo>
                      <a:pt x="1552" y="858"/>
                      <a:pt x="1501" y="863"/>
                      <a:pt x="1462" y="873"/>
                    </a:cubicBezTo>
                    <a:cubicBezTo>
                      <a:pt x="1440" y="878"/>
                      <a:pt x="1373" y="894"/>
                      <a:pt x="1373" y="948"/>
                    </a:cubicBezTo>
                    <a:cubicBezTo>
                      <a:pt x="1373" y="1168"/>
                      <a:pt x="1373" y="1168"/>
                      <a:pt x="1373" y="1168"/>
                    </a:cubicBezTo>
                    <a:cubicBezTo>
                      <a:pt x="1373" y="1222"/>
                      <a:pt x="1440" y="1238"/>
                      <a:pt x="1462" y="1243"/>
                    </a:cubicBezTo>
                    <a:cubicBezTo>
                      <a:pt x="1501" y="1253"/>
                      <a:pt x="1552" y="1258"/>
                      <a:pt x="1606" y="1258"/>
                    </a:cubicBezTo>
                    <a:cubicBezTo>
                      <a:pt x="1660" y="1258"/>
                      <a:pt x="1711" y="1253"/>
                      <a:pt x="1750" y="1243"/>
                    </a:cubicBezTo>
                    <a:cubicBezTo>
                      <a:pt x="1771" y="1238"/>
                      <a:pt x="1838" y="1222"/>
                      <a:pt x="1838" y="1168"/>
                    </a:cubicBezTo>
                    <a:lnTo>
                      <a:pt x="1838" y="948"/>
                    </a:lnTo>
                    <a:close/>
                    <a:moveTo>
                      <a:pt x="1728" y="325"/>
                    </a:moveTo>
                    <a:cubicBezTo>
                      <a:pt x="1743" y="324"/>
                      <a:pt x="1757" y="322"/>
                      <a:pt x="1772" y="321"/>
                    </a:cubicBezTo>
                    <a:cubicBezTo>
                      <a:pt x="1772" y="198"/>
                      <a:pt x="1772" y="198"/>
                      <a:pt x="1772" y="198"/>
                    </a:cubicBezTo>
                    <a:cubicBezTo>
                      <a:pt x="1772" y="186"/>
                      <a:pt x="1763" y="176"/>
                      <a:pt x="1750" y="176"/>
                    </a:cubicBezTo>
                    <a:cubicBezTo>
                      <a:pt x="1246" y="176"/>
                      <a:pt x="1246" y="176"/>
                      <a:pt x="1246" y="176"/>
                    </a:cubicBezTo>
                    <a:cubicBezTo>
                      <a:pt x="1209" y="215"/>
                      <a:pt x="1209" y="215"/>
                      <a:pt x="1209" y="215"/>
                    </a:cubicBezTo>
                    <a:cubicBezTo>
                      <a:pt x="1209" y="220"/>
                      <a:pt x="1209" y="220"/>
                      <a:pt x="1209" y="220"/>
                    </a:cubicBezTo>
                    <a:cubicBezTo>
                      <a:pt x="1728" y="220"/>
                      <a:pt x="1728" y="220"/>
                      <a:pt x="1728" y="220"/>
                    </a:cubicBezTo>
                    <a:lnTo>
                      <a:pt x="1728" y="325"/>
                    </a:lnTo>
                    <a:close/>
                    <a:moveTo>
                      <a:pt x="1822" y="319"/>
                    </a:moveTo>
                    <a:cubicBezTo>
                      <a:pt x="1827" y="318"/>
                      <a:pt x="1833" y="318"/>
                      <a:pt x="1838" y="318"/>
                    </a:cubicBezTo>
                    <a:cubicBezTo>
                      <a:pt x="1848" y="318"/>
                      <a:pt x="1857" y="319"/>
                      <a:pt x="1866" y="319"/>
                    </a:cubicBezTo>
                    <a:cubicBezTo>
                      <a:pt x="1866" y="111"/>
                      <a:pt x="1866" y="111"/>
                      <a:pt x="1866" y="111"/>
                    </a:cubicBezTo>
                    <a:cubicBezTo>
                      <a:pt x="1866" y="99"/>
                      <a:pt x="1856" y="89"/>
                      <a:pt x="1844" y="89"/>
                    </a:cubicBezTo>
                    <a:cubicBezTo>
                      <a:pt x="1330" y="89"/>
                      <a:pt x="1330" y="89"/>
                      <a:pt x="1330" y="89"/>
                    </a:cubicBezTo>
                    <a:cubicBezTo>
                      <a:pt x="1288" y="133"/>
                      <a:pt x="1288" y="133"/>
                      <a:pt x="1288" y="133"/>
                    </a:cubicBezTo>
                    <a:cubicBezTo>
                      <a:pt x="1822" y="133"/>
                      <a:pt x="1822" y="133"/>
                      <a:pt x="1822" y="133"/>
                    </a:cubicBezTo>
                    <a:lnTo>
                      <a:pt x="1822" y="319"/>
                    </a:lnTo>
                    <a:close/>
                    <a:moveTo>
                      <a:pt x="1907" y="321"/>
                    </a:moveTo>
                    <a:cubicBezTo>
                      <a:pt x="1922" y="322"/>
                      <a:pt x="1937" y="324"/>
                      <a:pt x="1951" y="326"/>
                    </a:cubicBezTo>
                    <a:cubicBezTo>
                      <a:pt x="1951" y="22"/>
                      <a:pt x="1951" y="22"/>
                      <a:pt x="1951" y="22"/>
                    </a:cubicBezTo>
                    <a:cubicBezTo>
                      <a:pt x="1951" y="10"/>
                      <a:pt x="1941" y="0"/>
                      <a:pt x="1929" y="0"/>
                    </a:cubicBezTo>
                    <a:cubicBezTo>
                      <a:pt x="1415" y="0"/>
                      <a:pt x="1415" y="0"/>
                      <a:pt x="1415" y="0"/>
                    </a:cubicBezTo>
                    <a:cubicBezTo>
                      <a:pt x="1373" y="44"/>
                      <a:pt x="1373" y="44"/>
                      <a:pt x="1373" y="44"/>
                    </a:cubicBezTo>
                    <a:cubicBezTo>
                      <a:pt x="1907" y="44"/>
                      <a:pt x="1907" y="44"/>
                      <a:pt x="1907" y="44"/>
                    </a:cubicBezTo>
                    <a:lnTo>
                      <a:pt x="1907" y="321"/>
                    </a:lnTo>
                    <a:close/>
                    <a:moveTo>
                      <a:pt x="1285" y="1059"/>
                    </a:moveTo>
                    <a:cubicBezTo>
                      <a:pt x="1209" y="1059"/>
                      <a:pt x="1209" y="1059"/>
                      <a:pt x="1209" y="1059"/>
                    </a:cubicBezTo>
                    <a:cubicBezTo>
                      <a:pt x="1209" y="1103"/>
                      <a:pt x="1209" y="1103"/>
                      <a:pt x="1209" y="1103"/>
                    </a:cubicBezTo>
                    <a:cubicBezTo>
                      <a:pt x="1285" y="1103"/>
                      <a:pt x="1285" y="1103"/>
                      <a:pt x="1285" y="1103"/>
                    </a:cubicBezTo>
                    <a:lnTo>
                      <a:pt x="1285" y="1059"/>
                    </a:lnTo>
                    <a:close/>
                    <a:moveTo>
                      <a:pt x="1285" y="948"/>
                    </a:moveTo>
                    <a:cubicBezTo>
                      <a:pt x="1285" y="902"/>
                      <a:pt x="1305" y="820"/>
                      <a:pt x="1441" y="787"/>
                    </a:cubicBezTo>
                    <a:cubicBezTo>
                      <a:pt x="1464" y="782"/>
                      <a:pt x="1490" y="777"/>
                      <a:pt x="1518" y="775"/>
                    </a:cubicBezTo>
                    <a:cubicBezTo>
                      <a:pt x="1518" y="496"/>
                      <a:pt x="1518" y="496"/>
                      <a:pt x="1518" y="496"/>
                    </a:cubicBezTo>
                    <a:cubicBezTo>
                      <a:pt x="1518" y="456"/>
                      <a:pt x="1533" y="388"/>
                      <a:pt x="1629" y="350"/>
                    </a:cubicBezTo>
                    <a:cubicBezTo>
                      <a:pt x="1629" y="334"/>
                      <a:pt x="1629" y="334"/>
                      <a:pt x="1629" y="334"/>
                    </a:cubicBezTo>
                    <a:cubicBezTo>
                      <a:pt x="1629" y="328"/>
                      <a:pt x="1625" y="324"/>
                      <a:pt x="1619" y="324"/>
                    </a:cubicBezTo>
                    <a:cubicBezTo>
                      <a:pt x="1209" y="324"/>
                      <a:pt x="1209" y="324"/>
                      <a:pt x="1209" y="324"/>
                    </a:cubicBezTo>
                    <a:cubicBezTo>
                      <a:pt x="1209" y="956"/>
                      <a:pt x="1209" y="956"/>
                      <a:pt x="1209" y="956"/>
                    </a:cubicBezTo>
                    <a:cubicBezTo>
                      <a:pt x="1285" y="956"/>
                      <a:pt x="1285" y="956"/>
                      <a:pt x="1285" y="956"/>
                    </a:cubicBezTo>
                    <a:lnTo>
                      <a:pt x="1285" y="948"/>
                    </a:lnTo>
                    <a:close/>
                    <a:moveTo>
                      <a:pt x="2057" y="403"/>
                    </a:moveTo>
                    <a:cubicBezTo>
                      <a:pt x="2032" y="388"/>
                      <a:pt x="2005" y="381"/>
                      <a:pt x="1992" y="378"/>
                    </a:cubicBezTo>
                    <a:cubicBezTo>
                      <a:pt x="1950" y="368"/>
                      <a:pt x="1896" y="362"/>
                      <a:pt x="1838" y="362"/>
                    </a:cubicBezTo>
                    <a:cubicBezTo>
                      <a:pt x="1781" y="362"/>
                      <a:pt x="1726" y="368"/>
                      <a:pt x="1684" y="378"/>
                    </a:cubicBezTo>
                    <a:cubicBezTo>
                      <a:pt x="1583" y="403"/>
                      <a:pt x="1562" y="456"/>
                      <a:pt x="1562" y="496"/>
                    </a:cubicBezTo>
                    <a:cubicBezTo>
                      <a:pt x="1562" y="771"/>
                      <a:pt x="1562" y="771"/>
                      <a:pt x="1562" y="771"/>
                    </a:cubicBezTo>
                    <a:cubicBezTo>
                      <a:pt x="1576" y="770"/>
                      <a:pt x="1591" y="770"/>
                      <a:pt x="1606" y="770"/>
                    </a:cubicBezTo>
                    <a:cubicBezTo>
                      <a:pt x="1606" y="770"/>
                      <a:pt x="1606" y="770"/>
                      <a:pt x="1606" y="770"/>
                    </a:cubicBezTo>
                    <a:cubicBezTo>
                      <a:pt x="1606" y="496"/>
                      <a:pt x="1606" y="496"/>
                      <a:pt x="1606" y="496"/>
                    </a:cubicBezTo>
                    <a:cubicBezTo>
                      <a:pt x="1606" y="443"/>
                      <a:pt x="1673" y="426"/>
                      <a:pt x="1695" y="421"/>
                    </a:cubicBezTo>
                    <a:cubicBezTo>
                      <a:pt x="1734" y="412"/>
                      <a:pt x="1785" y="406"/>
                      <a:pt x="1838" y="406"/>
                    </a:cubicBezTo>
                    <a:cubicBezTo>
                      <a:pt x="1892" y="406"/>
                      <a:pt x="1943" y="412"/>
                      <a:pt x="1982" y="421"/>
                    </a:cubicBezTo>
                    <a:cubicBezTo>
                      <a:pt x="2004" y="426"/>
                      <a:pt x="2071" y="443"/>
                      <a:pt x="2071" y="496"/>
                    </a:cubicBezTo>
                    <a:cubicBezTo>
                      <a:pt x="2071" y="1055"/>
                      <a:pt x="2071" y="1055"/>
                      <a:pt x="2071" y="1055"/>
                    </a:cubicBezTo>
                    <a:cubicBezTo>
                      <a:pt x="2071" y="1108"/>
                      <a:pt x="2004" y="1125"/>
                      <a:pt x="1982" y="1130"/>
                    </a:cubicBezTo>
                    <a:cubicBezTo>
                      <a:pt x="1965" y="1134"/>
                      <a:pt x="1947" y="1137"/>
                      <a:pt x="1926" y="1140"/>
                    </a:cubicBezTo>
                    <a:cubicBezTo>
                      <a:pt x="1926" y="1168"/>
                      <a:pt x="1926" y="1168"/>
                      <a:pt x="1926" y="1168"/>
                    </a:cubicBezTo>
                    <a:cubicBezTo>
                      <a:pt x="1926" y="1173"/>
                      <a:pt x="1926" y="1178"/>
                      <a:pt x="1925" y="1184"/>
                    </a:cubicBezTo>
                    <a:cubicBezTo>
                      <a:pt x="1950" y="1181"/>
                      <a:pt x="1973" y="1178"/>
                      <a:pt x="1992" y="1173"/>
                    </a:cubicBezTo>
                    <a:cubicBezTo>
                      <a:pt x="2094" y="1148"/>
                      <a:pt x="2115" y="1095"/>
                      <a:pt x="2115" y="1055"/>
                    </a:cubicBezTo>
                    <a:cubicBezTo>
                      <a:pt x="2115" y="496"/>
                      <a:pt x="2115" y="496"/>
                      <a:pt x="2115" y="496"/>
                    </a:cubicBezTo>
                    <a:cubicBezTo>
                      <a:pt x="2115" y="458"/>
                      <a:pt x="2094" y="425"/>
                      <a:pt x="2057" y="40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74" name="Freeform 12">
                <a:extLst>
                  <a:ext uri="{FF2B5EF4-FFF2-40B4-BE49-F238E27FC236}">
                    <a16:creationId xmlns:a16="http://schemas.microsoft.com/office/drawing/2014/main" id="{D63CC4D9-71E9-47B8-8268-8DD12EBA4D36}"/>
                  </a:ext>
                </a:extLst>
              </p:cNvPr>
              <p:cNvSpPr>
                <a:spLocks noEditPoints="1"/>
              </p:cNvSpPr>
              <p:nvPr/>
            </p:nvSpPr>
            <p:spPr bwMode="auto">
              <a:xfrm>
                <a:off x="9119863" y="4354133"/>
                <a:ext cx="500137" cy="428770"/>
              </a:xfrm>
              <a:custGeom>
                <a:avLst/>
                <a:gdLst>
                  <a:gd name="T0" fmla="*/ 0 w 1410"/>
                  <a:gd name="T1" fmla="*/ 1099 h 1208"/>
                  <a:gd name="T2" fmla="*/ 184 w 1410"/>
                  <a:gd name="T3" fmla="*/ 0 h 1208"/>
                  <a:gd name="T4" fmla="*/ 548 w 1410"/>
                  <a:gd name="T5" fmla="*/ 191 h 1208"/>
                  <a:gd name="T6" fmla="*/ 1410 w 1410"/>
                  <a:gd name="T7" fmla="*/ 662 h 1208"/>
                  <a:gd name="T8" fmla="*/ 1221 w 1410"/>
                  <a:gd name="T9" fmla="*/ 692 h 1208"/>
                  <a:gd name="T10" fmla="*/ 1033 w 1410"/>
                  <a:gd name="T11" fmla="*/ 662 h 1208"/>
                  <a:gd name="T12" fmla="*/ 1033 w 1410"/>
                  <a:gd name="T13" fmla="*/ 711 h 1208"/>
                  <a:gd name="T14" fmla="*/ 1033 w 1410"/>
                  <a:gd name="T15" fmla="*/ 714 h 1208"/>
                  <a:gd name="T16" fmla="*/ 1410 w 1410"/>
                  <a:gd name="T17" fmla="*/ 714 h 1208"/>
                  <a:gd name="T18" fmla="*/ 1409 w 1410"/>
                  <a:gd name="T19" fmla="*/ 711 h 1208"/>
                  <a:gd name="T20" fmla="*/ 1410 w 1410"/>
                  <a:gd name="T21" fmla="*/ 662 h 1208"/>
                  <a:gd name="T22" fmla="*/ 1033 w 1410"/>
                  <a:gd name="T23" fmla="*/ 490 h 1208"/>
                  <a:gd name="T24" fmla="*/ 1221 w 1410"/>
                  <a:gd name="T25" fmla="*/ 536 h 1208"/>
                  <a:gd name="T26" fmla="*/ 1410 w 1410"/>
                  <a:gd name="T27" fmla="*/ 490 h 1208"/>
                  <a:gd name="T28" fmla="*/ 1409 w 1410"/>
                  <a:gd name="T29" fmla="*/ 487 h 1208"/>
                  <a:gd name="T30" fmla="*/ 1033 w 1410"/>
                  <a:gd name="T31" fmla="*/ 487 h 1208"/>
                  <a:gd name="T32" fmla="*/ 1221 w 1410"/>
                  <a:gd name="T33" fmla="*/ 580 h 1208"/>
                  <a:gd name="T34" fmla="*/ 1033 w 1410"/>
                  <a:gd name="T35" fmla="*/ 550 h 1208"/>
                  <a:gd name="T36" fmla="*/ 1033 w 1410"/>
                  <a:gd name="T37" fmla="*/ 599 h 1208"/>
                  <a:gd name="T38" fmla="*/ 1033 w 1410"/>
                  <a:gd name="T39" fmla="*/ 602 h 1208"/>
                  <a:gd name="T40" fmla="*/ 1410 w 1410"/>
                  <a:gd name="T41" fmla="*/ 602 h 1208"/>
                  <a:gd name="T42" fmla="*/ 1409 w 1410"/>
                  <a:gd name="T43" fmla="*/ 599 h 1208"/>
                  <a:gd name="T44" fmla="*/ 1410 w 1410"/>
                  <a:gd name="T45" fmla="*/ 550 h 1208"/>
                  <a:gd name="T46" fmla="*/ 1221 w 1410"/>
                  <a:gd name="T47" fmla="*/ 580 h 1208"/>
                  <a:gd name="T48" fmla="*/ 845 w 1410"/>
                  <a:gd name="T49" fmla="*/ 1015 h 1208"/>
                  <a:gd name="T50" fmla="*/ 800 w 1410"/>
                  <a:gd name="T51" fmla="*/ 1049 h 1208"/>
                  <a:gd name="T52" fmla="*/ 800 w 1410"/>
                  <a:gd name="T53" fmla="*/ 1052 h 1208"/>
                  <a:gd name="T54" fmla="*/ 989 w 1410"/>
                  <a:gd name="T55" fmla="*/ 1098 h 1208"/>
                  <a:gd name="T56" fmla="*/ 1177 w 1410"/>
                  <a:gd name="T57" fmla="*/ 1052 h 1208"/>
                  <a:gd name="T58" fmla="*/ 1177 w 1410"/>
                  <a:gd name="T59" fmla="*/ 1049 h 1208"/>
                  <a:gd name="T60" fmla="*/ 1133 w 1410"/>
                  <a:gd name="T61" fmla="*/ 1015 h 1208"/>
                  <a:gd name="T62" fmla="*/ 1133 w 1410"/>
                  <a:gd name="T63" fmla="*/ 1127 h 1208"/>
                  <a:gd name="T64" fmla="*/ 845 w 1410"/>
                  <a:gd name="T65" fmla="*/ 1127 h 1208"/>
                  <a:gd name="T66" fmla="*/ 800 w 1410"/>
                  <a:gd name="T67" fmla="*/ 1161 h 1208"/>
                  <a:gd name="T68" fmla="*/ 800 w 1410"/>
                  <a:gd name="T69" fmla="*/ 1163 h 1208"/>
                  <a:gd name="T70" fmla="*/ 1177 w 1410"/>
                  <a:gd name="T71" fmla="*/ 1163 h 1208"/>
                  <a:gd name="T72" fmla="*/ 1177 w 1410"/>
                  <a:gd name="T73" fmla="*/ 1161 h 1208"/>
                  <a:gd name="T74" fmla="*/ 1133 w 1410"/>
                  <a:gd name="T75" fmla="*/ 1127 h 1208"/>
                  <a:gd name="T76" fmla="*/ 1177 w 1410"/>
                  <a:gd name="T77" fmla="*/ 941 h 1208"/>
                  <a:gd name="T78" fmla="*/ 800 w 1410"/>
                  <a:gd name="T79" fmla="*/ 941 h 1208"/>
                  <a:gd name="T80" fmla="*/ 1410 w 1410"/>
                  <a:gd name="T81" fmla="*/ 774 h 1208"/>
                  <a:gd name="T82" fmla="*/ 1221 w 1410"/>
                  <a:gd name="T83" fmla="*/ 804 h 1208"/>
                  <a:gd name="T84" fmla="*/ 1230 w 1410"/>
                  <a:gd name="T85" fmla="*/ 810 h 1208"/>
                  <a:gd name="T86" fmla="*/ 1410 w 1410"/>
                  <a:gd name="T87" fmla="*/ 826 h 1208"/>
                  <a:gd name="T88" fmla="*/ 1409 w 1410"/>
                  <a:gd name="T89" fmla="*/ 824 h 1208"/>
                  <a:gd name="T90" fmla="*/ 1410 w 1410"/>
                  <a:gd name="T91" fmla="*/ 774 h 1208"/>
                  <a:gd name="T92" fmla="*/ 1365 w 1410"/>
                  <a:gd name="T93" fmla="*/ 902 h 1208"/>
                  <a:gd name="T94" fmla="*/ 1309 w 1410"/>
                  <a:gd name="T95" fmla="*/ 942 h 1208"/>
                  <a:gd name="T96" fmla="*/ 1410 w 1410"/>
                  <a:gd name="T97" fmla="*/ 939 h 1208"/>
                  <a:gd name="T98" fmla="*/ 1409 w 1410"/>
                  <a:gd name="T99" fmla="*/ 936 h 1208"/>
                  <a:gd name="T100" fmla="*/ 1410 w 1410"/>
                  <a:gd name="T101" fmla="*/ 886 h 1208"/>
                  <a:gd name="T102" fmla="*/ 1365 w 1410"/>
                  <a:gd name="T103" fmla="*/ 1014 h 1208"/>
                  <a:gd name="T104" fmla="*/ 1309 w 1410"/>
                  <a:gd name="T105" fmla="*/ 1089 h 1208"/>
                  <a:gd name="T106" fmla="*/ 1409 w 1410"/>
                  <a:gd name="T107" fmla="*/ 1048 h 1208"/>
                  <a:gd name="T108" fmla="*/ 1410 w 1410"/>
                  <a:gd name="T109" fmla="*/ 998 h 1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10" h="1208">
                    <a:moveTo>
                      <a:pt x="548" y="1099"/>
                    </a:moveTo>
                    <a:cubicBezTo>
                      <a:pt x="0" y="1099"/>
                      <a:pt x="0" y="1099"/>
                      <a:pt x="0" y="1099"/>
                    </a:cubicBezTo>
                    <a:cubicBezTo>
                      <a:pt x="0" y="191"/>
                      <a:pt x="0" y="191"/>
                      <a:pt x="0" y="191"/>
                    </a:cubicBezTo>
                    <a:cubicBezTo>
                      <a:pt x="184" y="0"/>
                      <a:pt x="184" y="0"/>
                      <a:pt x="184" y="0"/>
                    </a:cubicBezTo>
                    <a:cubicBezTo>
                      <a:pt x="732" y="0"/>
                      <a:pt x="732" y="0"/>
                      <a:pt x="732" y="0"/>
                    </a:cubicBezTo>
                    <a:cubicBezTo>
                      <a:pt x="548" y="191"/>
                      <a:pt x="548" y="191"/>
                      <a:pt x="548" y="191"/>
                    </a:cubicBezTo>
                    <a:lnTo>
                      <a:pt x="548" y="1099"/>
                    </a:lnTo>
                    <a:close/>
                    <a:moveTo>
                      <a:pt x="1410" y="662"/>
                    </a:moveTo>
                    <a:cubicBezTo>
                      <a:pt x="1398" y="668"/>
                      <a:pt x="1383" y="673"/>
                      <a:pt x="1365" y="678"/>
                    </a:cubicBezTo>
                    <a:cubicBezTo>
                      <a:pt x="1326" y="687"/>
                      <a:pt x="1275" y="692"/>
                      <a:pt x="1221" y="692"/>
                    </a:cubicBezTo>
                    <a:cubicBezTo>
                      <a:pt x="1168" y="692"/>
                      <a:pt x="1117" y="687"/>
                      <a:pt x="1078" y="678"/>
                    </a:cubicBezTo>
                    <a:cubicBezTo>
                      <a:pt x="1060" y="673"/>
                      <a:pt x="1045" y="668"/>
                      <a:pt x="1033" y="662"/>
                    </a:cubicBezTo>
                    <a:cubicBezTo>
                      <a:pt x="1033" y="711"/>
                      <a:pt x="1033" y="711"/>
                      <a:pt x="1033" y="711"/>
                    </a:cubicBezTo>
                    <a:cubicBezTo>
                      <a:pt x="1033" y="711"/>
                      <a:pt x="1033" y="711"/>
                      <a:pt x="1033" y="711"/>
                    </a:cubicBezTo>
                    <a:cubicBezTo>
                      <a:pt x="1033" y="712"/>
                      <a:pt x="1033" y="713"/>
                      <a:pt x="1033" y="714"/>
                    </a:cubicBezTo>
                    <a:cubicBezTo>
                      <a:pt x="1033" y="714"/>
                      <a:pt x="1033" y="714"/>
                      <a:pt x="1033" y="714"/>
                    </a:cubicBezTo>
                    <a:cubicBezTo>
                      <a:pt x="1033" y="740"/>
                      <a:pt x="1117" y="760"/>
                      <a:pt x="1221" y="760"/>
                    </a:cubicBezTo>
                    <a:cubicBezTo>
                      <a:pt x="1325" y="760"/>
                      <a:pt x="1410" y="740"/>
                      <a:pt x="1410" y="714"/>
                    </a:cubicBezTo>
                    <a:cubicBezTo>
                      <a:pt x="1410" y="714"/>
                      <a:pt x="1410" y="714"/>
                      <a:pt x="1410" y="714"/>
                    </a:cubicBezTo>
                    <a:cubicBezTo>
                      <a:pt x="1410" y="713"/>
                      <a:pt x="1410" y="712"/>
                      <a:pt x="1409" y="711"/>
                    </a:cubicBezTo>
                    <a:cubicBezTo>
                      <a:pt x="1410" y="711"/>
                      <a:pt x="1410" y="711"/>
                      <a:pt x="1410" y="711"/>
                    </a:cubicBezTo>
                    <a:lnTo>
                      <a:pt x="1410" y="662"/>
                    </a:lnTo>
                    <a:close/>
                    <a:moveTo>
                      <a:pt x="1033" y="488"/>
                    </a:moveTo>
                    <a:cubicBezTo>
                      <a:pt x="1033" y="489"/>
                      <a:pt x="1033" y="490"/>
                      <a:pt x="1033" y="490"/>
                    </a:cubicBezTo>
                    <a:cubicBezTo>
                      <a:pt x="1033" y="490"/>
                      <a:pt x="1033" y="490"/>
                      <a:pt x="1033" y="490"/>
                    </a:cubicBezTo>
                    <a:cubicBezTo>
                      <a:pt x="1033" y="516"/>
                      <a:pt x="1117" y="536"/>
                      <a:pt x="1221" y="536"/>
                    </a:cubicBezTo>
                    <a:cubicBezTo>
                      <a:pt x="1325" y="536"/>
                      <a:pt x="1410" y="516"/>
                      <a:pt x="1410" y="490"/>
                    </a:cubicBezTo>
                    <a:cubicBezTo>
                      <a:pt x="1410" y="490"/>
                      <a:pt x="1410" y="490"/>
                      <a:pt x="1410" y="490"/>
                    </a:cubicBezTo>
                    <a:cubicBezTo>
                      <a:pt x="1410" y="490"/>
                      <a:pt x="1410" y="489"/>
                      <a:pt x="1410" y="488"/>
                    </a:cubicBezTo>
                    <a:cubicBezTo>
                      <a:pt x="1410" y="488"/>
                      <a:pt x="1410" y="488"/>
                      <a:pt x="1409" y="487"/>
                    </a:cubicBezTo>
                    <a:cubicBezTo>
                      <a:pt x="1403" y="463"/>
                      <a:pt x="1321" y="444"/>
                      <a:pt x="1221" y="444"/>
                    </a:cubicBezTo>
                    <a:cubicBezTo>
                      <a:pt x="1121" y="444"/>
                      <a:pt x="1039" y="463"/>
                      <a:pt x="1033" y="487"/>
                    </a:cubicBezTo>
                    <a:cubicBezTo>
                      <a:pt x="1033" y="488"/>
                      <a:pt x="1033" y="488"/>
                      <a:pt x="1033" y="488"/>
                    </a:cubicBezTo>
                    <a:close/>
                    <a:moveTo>
                      <a:pt x="1221" y="580"/>
                    </a:moveTo>
                    <a:cubicBezTo>
                      <a:pt x="1168" y="580"/>
                      <a:pt x="1117" y="575"/>
                      <a:pt x="1078" y="565"/>
                    </a:cubicBezTo>
                    <a:cubicBezTo>
                      <a:pt x="1060" y="561"/>
                      <a:pt x="1045" y="556"/>
                      <a:pt x="1033" y="550"/>
                    </a:cubicBezTo>
                    <a:cubicBezTo>
                      <a:pt x="1033" y="599"/>
                      <a:pt x="1033" y="599"/>
                      <a:pt x="1033" y="599"/>
                    </a:cubicBezTo>
                    <a:cubicBezTo>
                      <a:pt x="1033" y="599"/>
                      <a:pt x="1033" y="599"/>
                      <a:pt x="1033" y="599"/>
                    </a:cubicBezTo>
                    <a:cubicBezTo>
                      <a:pt x="1033" y="600"/>
                      <a:pt x="1033" y="601"/>
                      <a:pt x="1033" y="602"/>
                    </a:cubicBezTo>
                    <a:cubicBezTo>
                      <a:pt x="1033" y="602"/>
                      <a:pt x="1033" y="602"/>
                      <a:pt x="1033" y="602"/>
                    </a:cubicBezTo>
                    <a:cubicBezTo>
                      <a:pt x="1033" y="628"/>
                      <a:pt x="1117" y="648"/>
                      <a:pt x="1221" y="648"/>
                    </a:cubicBezTo>
                    <a:cubicBezTo>
                      <a:pt x="1325" y="648"/>
                      <a:pt x="1410" y="628"/>
                      <a:pt x="1410" y="602"/>
                    </a:cubicBezTo>
                    <a:cubicBezTo>
                      <a:pt x="1410" y="602"/>
                      <a:pt x="1410" y="602"/>
                      <a:pt x="1410" y="602"/>
                    </a:cubicBezTo>
                    <a:cubicBezTo>
                      <a:pt x="1410" y="601"/>
                      <a:pt x="1410" y="600"/>
                      <a:pt x="1409" y="599"/>
                    </a:cubicBezTo>
                    <a:cubicBezTo>
                      <a:pt x="1410" y="599"/>
                      <a:pt x="1410" y="599"/>
                      <a:pt x="1410" y="599"/>
                    </a:cubicBezTo>
                    <a:cubicBezTo>
                      <a:pt x="1410" y="550"/>
                      <a:pt x="1410" y="550"/>
                      <a:pt x="1410" y="550"/>
                    </a:cubicBezTo>
                    <a:cubicBezTo>
                      <a:pt x="1398" y="556"/>
                      <a:pt x="1383" y="561"/>
                      <a:pt x="1365" y="565"/>
                    </a:cubicBezTo>
                    <a:cubicBezTo>
                      <a:pt x="1326" y="575"/>
                      <a:pt x="1275" y="580"/>
                      <a:pt x="1221" y="580"/>
                    </a:cubicBezTo>
                    <a:close/>
                    <a:moveTo>
                      <a:pt x="989" y="1030"/>
                    </a:moveTo>
                    <a:cubicBezTo>
                      <a:pt x="935" y="1030"/>
                      <a:pt x="884" y="1024"/>
                      <a:pt x="845" y="1015"/>
                    </a:cubicBezTo>
                    <a:cubicBezTo>
                      <a:pt x="827" y="1011"/>
                      <a:pt x="812" y="1005"/>
                      <a:pt x="800" y="999"/>
                    </a:cubicBezTo>
                    <a:cubicBezTo>
                      <a:pt x="800" y="1049"/>
                      <a:pt x="800" y="1049"/>
                      <a:pt x="800" y="1049"/>
                    </a:cubicBezTo>
                    <a:cubicBezTo>
                      <a:pt x="801" y="1049"/>
                      <a:pt x="801" y="1049"/>
                      <a:pt x="801" y="1049"/>
                    </a:cubicBezTo>
                    <a:cubicBezTo>
                      <a:pt x="800" y="1050"/>
                      <a:pt x="800" y="1051"/>
                      <a:pt x="800" y="1052"/>
                    </a:cubicBezTo>
                    <a:cubicBezTo>
                      <a:pt x="800" y="1052"/>
                      <a:pt x="800" y="1052"/>
                      <a:pt x="800" y="1052"/>
                    </a:cubicBezTo>
                    <a:cubicBezTo>
                      <a:pt x="800" y="1077"/>
                      <a:pt x="885" y="1098"/>
                      <a:pt x="989" y="1098"/>
                    </a:cubicBezTo>
                    <a:cubicBezTo>
                      <a:pt x="1093" y="1098"/>
                      <a:pt x="1177" y="1077"/>
                      <a:pt x="1177" y="1052"/>
                    </a:cubicBezTo>
                    <a:cubicBezTo>
                      <a:pt x="1177" y="1052"/>
                      <a:pt x="1177" y="1052"/>
                      <a:pt x="1177" y="1052"/>
                    </a:cubicBezTo>
                    <a:cubicBezTo>
                      <a:pt x="1177" y="1051"/>
                      <a:pt x="1177" y="1050"/>
                      <a:pt x="1177" y="1049"/>
                    </a:cubicBezTo>
                    <a:cubicBezTo>
                      <a:pt x="1177" y="1049"/>
                      <a:pt x="1177" y="1049"/>
                      <a:pt x="1177" y="1049"/>
                    </a:cubicBezTo>
                    <a:cubicBezTo>
                      <a:pt x="1177" y="999"/>
                      <a:pt x="1177" y="999"/>
                      <a:pt x="1177" y="999"/>
                    </a:cubicBezTo>
                    <a:cubicBezTo>
                      <a:pt x="1165" y="1005"/>
                      <a:pt x="1150" y="1011"/>
                      <a:pt x="1133" y="1015"/>
                    </a:cubicBezTo>
                    <a:cubicBezTo>
                      <a:pt x="1094" y="1024"/>
                      <a:pt x="1043" y="1030"/>
                      <a:pt x="989" y="1030"/>
                    </a:cubicBezTo>
                    <a:close/>
                    <a:moveTo>
                      <a:pt x="1133" y="1127"/>
                    </a:moveTo>
                    <a:cubicBezTo>
                      <a:pt x="1094" y="1136"/>
                      <a:pt x="1043" y="1142"/>
                      <a:pt x="989" y="1142"/>
                    </a:cubicBezTo>
                    <a:cubicBezTo>
                      <a:pt x="935" y="1142"/>
                      <a:pt x="884" y="1136"/>
                      <a:pt x="845" y="1127"/>
                    </a:cubicBezTo>
                    <a:cubicBezTo>
                      <a:pt x="827" y="1123"/>
                      <a:pt x="812" y="1117"/>
                      <a:pt x="800" y="1112"/>
                    </a:cubicBezTo>
                    <a:cubicBezTo>
                      <a:pt x="800" y="1161"/>
                      <a:pt x="800" y="1161"/>
                      <a:pt x="800" y="1161"/>
                    </a:cubicBezTo>
                    <a:cubicBezTo>
                      <a:pt x="801" y="1161"/>
                      <a:pt x="801" y="1161"/>
                      <a:pt x="801" y="1161"/>
                    </a:cubicBezTo>
                    <a:cubicBezTo>
                      <a:pt x="800" y="1162"/>
                      <a:pt x="800" y="1162"/>
                      <a:pt x="800" y="1163"/>
                    </a:cubicBezTo>
                    <a:cubicBezTo>
                      <a:pt x="802" y="1188"/>
                      <a:pt x="886" y="1208"/>
                      <a:pt x="989" y="1208"/>
                    </a:cubicBezTo>
                    <a:cubicBezTo>
                      <a:pt x="1092" y="1208"/>
                      <a:pt x="1176" y="1188"/>
                      <a:pt x="1177" y="1163"/>
                    </a:cubicBezTo>
                    <a:cubicBezTo>
                      <a:pt x="1177" y="1162"/>
                      <a:pt x="1177" y="1162"/>
                      <a:pt x="1177" y="1161"/>
                    </a:cubicBezTo>
                    <a:cubicBezTo>
                      <a:pt x="1177" y="1161"/>
                      <a:pt x="1177" y="1161"/>
                      <a:pt x="1177" y="1161"/>
                    </a:cubicBezTo>
                    <a:cubicBezTo>
                      <a:pt x="1177" y="1112"/>
                      <a:pt x="1177" y="1112"/>
                      <a:pt x="1177" y="1112"/>
                    </a:cubicBezTo>
                    <a:cubicBezTo>
                      <a:pt x="1165" y="1117"/>
                      <a:pt x="1150" y="1123"/>
                      <a:pt x="1133" y="1127"/>
                    </a:cubicBezTo>
                    <a:close/>
                    <a:moveTo>
                      <a:pt x="989" y="986"/>
                    </a:moveTo>
                    <a:cubicBezTo>
                      <a:pt x="1091" y="986"/>
                      <a:pt x="1175" y="966"/>
                      <a:pt x="1177" y="941"/>
                    </a:cubicBezTo>
                    <a:cubicBezTo>
                      <a:pt x="1175" y="916"/>
                      <a:pt x="1091" y="896"/>
                      <a:pt x="989" y="896"/>
                    </a:cubicBezTo>
                    <a:cubicBezTo>
                      <a:pt x="886" y="896"/>
                      <a:pt x="803" y="916"/>
                      <a:pt x="800" y="941"/>
                    </a:cubicBezTo>
                    <a:cubicBezTo>
                      <a:pt x="803" y="966"/>
                      <a:pt x="886" y="986"/>
                      <a:pt x="989" y="986"/>
                    </a:cubicBezTo>
                    <a:close/>
                    <a:moveTo>
                      <a:pt x="1410" y="774"/>
                    </a:moveTo>
                    <a:cubicBezTo>
                      <a:pt x="1398" y="780"/>
                      <a:pt x="1383" y="785"/>
                      <a:pt x="1365" y="790"/>
                    </a:cubicBezTo>
                    <a:cubicBezTo>
                      <a:pt x="1326" y="799"/>
                      <a:pt x="1275" y="804"/>
                      <a:pt x="1221" y="804"/>
                    </a:cubicBezTo>
                    <a:cubicBezTo>
                      <a:pt x="1220" y="804"/>
                      <a:pt x="1219" y="804"/>
                      <a:pt x="1219" y="804"/>
                    </a:cubicBezTo>
                    <a:cubicBezTo>
                      <a:pt x="1222" y="806"/>
                      <a:pt x="1226" y="808"/>
                      <a:pt x="1230" y="810"/>
                    </a:cubicBezTo>
                    <a:cubicBezTo>
                      <a:pt x="1256" y="826"/>
                      <a:pt x="1276" y="846"/>
                      <a:pt x="1290" y="869"/>
                    </a:cubicBezTo>
                    <a:cubicBezTo>
                      <a:pt x="1360" y="863"/>
                      <a:pt x="1410" y="846"/>
                      <a:pt x="1410" y="826"/>
                    </a:cubicBezTo>
                    <a:cubicBezTo>
                      <a:pt x="1410" y="826"/>
                      <a:pt x="1410" y="826"/>
                      <a:pt x="1410" y="826"/>
                    </a:cubicBezTo>
                    <a:cubicBezTo>
                      <a:pt x="1410" y="825"/>
                      <a:pt x="1410" y="824"/>
                      <a:pt x="1409" y="824"/>
                    </a:cubicBezTo>
                    <a:cubicBezTo>
                      <a:pt x="1410" y="824"/>
                      <a:pt x="1410" y="824"/>
                      <a:pt x="1410" y="824"/>
                    </a:cubicBezTo>
                    <a:lnTo>
                      <a:pt x="1410" y="774"/>
                    </a:lnTo>
                    <a:close/>
                    <a:moveTo>
                      <a:pt x="1410" y="886"/>
                    </a:moveTo>
                    <a:cubicBezTo>
                      <a:pt x="1398" y="892"/>
                      <a:pt x="1383" y="897"/>
                      <a:pt x="1365" y="902"/>
                    </a:cubicBezTo>
                    <a:cubicBezTo>
                      <a:pt x="1348" y="906"/>
                      <a:pt x="1328" y="909"/>
                      <a:pt x="1306" y="912"/>
                    </a:cubicBezTo>
                    <a:cubicBezTo>
                      <a:pt x="1308" y="922"/>
                      <a:pt x="1309" y="932"/>
                      <a:pt x="1309" y="942"/>
                    </a:cubicBezTo>
                    <a:cubicBezTo>
                      <a:pt x="1309" y="979"/>
                      <a:pt x="1309" y="979"/>
                      <a:pt x="1309" y="979"/>
                    </a:cubicBezTo>
                    <a:cubicBezTo>
                      <a:pt x="1369" y="971"/>
                      <a:pt x="1410" y="956"/>
                      <a:pt x="1410" y="939"/>
                    </a:cubicBezTo>
                    <a:cubicBezTo>
                      <a:pt x="1410" y="939"/>
                      <a:pt x="1410" y="939"/>
                      <a:pt x="1410" y="939"/>
                    </a:cubicBezTo>
                    <a:cubicBezTo>
                      <a:pt x="1410" y="938"/>
                      <a:pt x="1410" y="937"/>
                      <a:pt x="1409" y="936"/>
                    </a:cubicBezTo>
                    <a:cubicBezTo>
                      <a:pt x="1410" y="936"/>
                      <a:pt x="1410" y="936"/>
                      <a:pt x="1410" y="936"/>
                    </a:cubicBezTo>
                    <a:lnTo>
                      <a:pt x="1410" y="886"/>
                    </a:lnTo>
                    <a:close/>
                    <a:moveTo>
                      <a:pt x="1410" y="998"/>
                    </a:moveTo>
                    <a:cubicBezTo>
                      <a:pt x="1398" y="1004"/>
                      <a:pt x="1383" y="1009"/>
                      <a:pt x="1365" y="1014"/>
                    </a:cubicBezTo>
                    <a:cubicBezTo>
                      <a:pt x="1348" y="1018"/>
                      <a:pt x="1330" y="1021"/>
                      <a:pt x="1309" y="1023"/>
                    </a:cubicBezTo>
                    <a:cubicBezTo>
                      <a:pt x="1309" y="1089"/>
                      <a:pt x="1309" y="1089"/>
                      <a:pt x="1309" y="1089"/>
                    </a:cubicBezTo>
                    <a:cubicBezTo>
                      <a:pt x="1368" y="1082"/>
                      <a:pt x="1409" y="1067"/>
                      <a:pt x="1410" y="1050"/>
                    </a:cubicBezTo>
                    <a:cubicBezTo>
                      <a:pt x="1410" y="1049"/>
                      <a:pt x="1410" y="1048"/>
                      <a:pt x="1409" y="1048"/>
                    </a:cubicBezTo>
                    <a:cubicBezTo>
                      <a:pt x="1410" y="1048"/>
                      <a:pt x="1410" y="1048"/>
                      <a:pt x="1410" y="1048"/>
                    </a:cubicBezTo>
                    <a:lnTo>
                      <a:pt x="1410" y="99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grpSp>
        <p:nvGrpSpPr>
          <p:cNvPr id="15" name="Group 14"/>
          <p:cNvGrpSpPr/>
          <p:nvPr/>
        </p:nvGrpSpPr>
        <p:grpSpPr>
          <a:xfrm>
            <a:off x="8142632" y="4514491"/>
            <a:ext cx="937901" cy="907515"/>
            <a:chOff x="6827958" y="3942990"/>
            <a:chExt cx="937901" cy="907515"/>
          </a:xfrm>
        </p:grpSpPr>
        <p:sp>
          <p:nvSpPr>
            <p:cNvPr id="76" name="Oval 75"/>
            <p:cNvSpPr>
              <a:spLocks noChangeAspect="1"/>
            </p:cNvSpPr>
            <p:nvPr/>
          </p:nvSpPr>
          <p:spPr>
            <a:xfrm>
              <a:off x="6827958" y="3942990"/>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77" name="bcgIcons_PublicSector">
              <a:extLst>
                <a:ext uri="{FF2B5EF4-FFF2-40B4-BE49-F238E27FC236}">
                  <a16:creationId xmlns:a16="http://schemas.microsoft.com/office/drawing/2014/main" id="{DCC15F7D-CDC2-4E1F-A0B5-9B1EF884CF51}"/>
                </a:ext>
              </a:extLst>
            </p:cNvPr>
            <p:cNvGrpSpPr>
              <a:grpSpLocks noChangeAspect="1"/>
            </p:cNvGrpSpPr>
            <p:nvPr/>
          </p:nvGrpSpPr>
          <p:grpSpPr bwMode="auto">
            <a:xfrm>
              <a:off x="6963775" y="4063305"/>
              <a:ext cx="666267" cy="666884"/>
              <a:chOff x="1682" y="0"/>
              <a:chExt cx="4316" cy="4320"/>
            </a:xfrm>
          </p:grpSpPr>
          <p:sp>
            <p:nvSpPr>
              <p:cNvPr id="78" name="AutoShape 18">
                <a:extLst>
                  <a:ext uri="{FF2B5EF4-FFF2-40B4-BE49-F238E27FC236}">
                    <a16:creationId xmlns:a16="http://schemas.microsoft.com/office/drawing/2014/main" id="{575286B9-FCC8-4EFB-9834-BD5493C559C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79" name="Freeform 20">
                <a:extLst>
                  <a:ext uri="{FF2B5EF4-FFF2-40B4-BE49-F238E27FC236}">
                    <a16:creationId xmlns:a16="http://schemas.microsoft.com/office/drawing/2014/main" id="{CEF9E0BC-00B7-4B29-B377-3473BD5B2EB2}"/>
                  </a:ext>
                </a:extLst>
              </p:cNvPr>
              <p:cNvSpPr>
                <a:spLocks noEditPoints="1"/>
              </p:cNvSpPr>
              <p:nvPr/>
            </p:nvSpPr>
            <p:spPr bwMode="auto">
              <a:xfrm>
                <a:off x="1847" y="431"/>
                <a:ext cx="3979" cy="3443"/>
              </a:xfrm>
              <a:custGeom>
                <a:avLst/>
                <a:gdLst>
                  <a:gd name="T0" fmla="*/ 227 w 2124"/>
                  <a:gd name="T1" fmla="*/ 496 h 1836"/>
                  <a:gd name="T2" fmla="*/ 528 w 2124"/>
                  <a:gd name="T3" fmla="*/ 467 h 1836"/>
                  <a:gd name="T4" fmla="*/ 996 w 2124"/>
                  <a:gd name="T5" fmla="*/ 467 h 1836"/>
                  <a:gd name="T6" fmla="*/ 695 w 2124"/>
                  <a:gd name="T7" fmla="*/ 496 h 1836"/>
                  <a:gd name="T8" fmla="*/ 994 w 2124"/>
                  <a:gd name="T9" fmla="*/ 498 h 1836"/>
                  <a:gd name="T10" fmla="*/ 1130 w 2124"/>
                  <a:gd name="T11" fmla="*/ 467 h 1836"/>
                  <a:gd name="T12" fmla="*/ 1431 w 2124"/>
                  <a:gd name="T13" fmla="*/ 496 h 1836"/>
                  <a:gd name="T14" fmla="*/ 1933 w 2124"/>
                  <a:gd name="T15" fmla="*/ 467 h 1836"/>
                  <a:gd name="T16" fmla="*/ 1631 w 2124"/>
                  <a:gd name="T17" fmla="*/ 496 h 1836"/>
                  <a:gd name="T18" fmla="*/ 1930 w 2124"/>
                  <a:gd name="T19" fmla="*/ 498 h 1836"/>
                  <a:gd name="T20" fmla="*/ 427 w 2124"/>
                  <a:gd name="T21" fmla="*/ 273 h 1836"/>
                  <a:gd name="T22" fmla="*/ 729 w 2124"/>
                  <a:gd name="T23" fmla="*/ 301 h 1836"/>
                  <a:gd name="T24" fmla="*/ 1230 w 2124"/>
                  <a:gd name="T25" fmla="*/ 273 h 1836"/>
                  <a:gd name="T26" fmla="*/ 929 w 2124"/>
                  <a:gd name="T27" fmla="*/ 301 h 1836"/>
                  <a:gd name="T28" fmla="*/ 1228 w 2124"/>
                  <a:gd name="T29" fmla="*/ 304 h 1836"/>
                  <a:gd name="T30" fmla="*/ 1364 w 2124"/>
                  <a:gd name="T31" fmla="*/ 273 h 1836"/>
                  <a:gd name="T32" fmla="*/ 1665 w 2124"/>
                  <a:gd name="T33" fmla="*/ 301 h 1836"/>
                  <a:gd name="T34" fmla="*/ 996 w 2124"/>
                  <a:gd name="T35" fmla="*/ 78 h 1836"/>
                  <a:gd name="T36" fmla="*/ 695 w 2124"/>
                  <a:gd name="T37" fmla="*/ 107 h 1836"/>
                  <a:gd name="T38" fmla="*/ 994 w 2124"/>
                  <a:gd name="T39" fmla="*/ 109 h 1836"/>
                  <a:gd name="T40" fmla="*/ 1130 w 2124"/>
                  <a:gd name="T41" fmla="*/ 78 h 1836"/>
                  <a:gd name="T42" fmla="*/ 1431 w 2124"/>
                  <a:gd name="T43" fmla="*/ 107 h 1836"/>
                  <a:gd name="T44" fmla="*/ 1893 w 2124"/>
                  <a:gd name="T45" fmla="*/ 584 h 1836"/>
                  <a:gd name="T46" fmla="*/ 1893 w 2124"/>
                  <a:gd name="T47" fmla="*/ 628 h 1836"/>
                  <a:gd name="T48" fmla="*/ 2060 w 2124"/>
                  <a:gd name="T49" fmla="*/ 662 h 1836"/>
                  <a:gd name="T50" fmla="*/ 69 w 2124"/>
                  <a:gd name="T51" fmla="*/ 693 h 1836"/>
                  <a:gd name="T52" fmla="*/ 377 w 2124"/>
                  <a:gd name="T53" fmla="*/ 638 h 1836"/>
                  <a:gd name="T54" fmla="*/ 1533 w 2124"/>
                  <a:gd name="T55" fmla="*/ 1602 h 1836"/>
                  <a:gd name="T56" fmla="*/ 1155 w 2124"/>
                  <a:gd name="T57" fmla="*/ 1543 h 1836"/>
                  <a:gd name="T58" fmla="*/ 2102 w 2124"/>
                  <a:gd name="T59" fmla="*/ 1836 h 1836"/>
                  <a:gd name="T60" fmla="*/ 1191 w 2124"/>
                  <a:gd name="T61" fmla="*/ 1811 h 1836"/>
                  <a:gd name="T62" fmla="*/ 787 w 2124"/>
                  <a:gd name="T63" fmla="*/ 1449 h 1836"/>
                  <a:gd name="T64" fmla="*/ 404 w 2124"/>
                  <a:gd name="T65" fmla="*/ 1449 h 1836"/>
                  <a:gd name="T66" fmla="*/ 0 w 2124"/>
                  <a:gd name="T67" fmla="*/ 1814 h 1836"/>
                  <a:gd name="T68" fmla="*/ 1191 w 2124"/>
                  <a:gd name="T69" fmla="*/ 1811 h 1836"/>
                  <a:gd name="T70" fmla="*/ 896 w 2124"/>
                  <a:gd name="T71" fmla="*/ 662 h 1836"/>
                  <a:gd name="T72" fmla="*/ 1197 w 2124"/>
                  <a:gd name="T73" fmla="*/ 690 h 1836"/>
                  <a:gd name="T74" fmla="*/ 1356 w 2124"/>
                  <a:gd name="T75" fmla="*/ 1362 h 1836"/>
                  <a:gd name="T76" fmla="*/ 1407 w 2124"/>
                  <a:gd name="T77" fmla="*/ 1450 h 1836"/>
                  <a:gd name="T78" fmla="*/ 1649 w 2124"/>
                  <a:gd name="T79" fmla="*/ 1450 h 1836"/>
                  <a:gd name="T80" fmla="*/ 1701 w 2124"/>
                  <a:gd name="T81" fmla="*/ 1362 h 1836"/>
                  <a:gd name="T82" fmla="*/ 1796 w 2124"/>
                  <a:gd name="T83" fmla="*/ 1101 h 1836"/>
                  <a:gd name="T84" fmla="*/ 1528 w 2124"/>
                  <a:gd name="T85" fmla="*/ 1401 h 1836"/>
                  <a:gd name="T86" fmla="*/ 1261 w 2124"/>
                  <a:gd name="T87" fmla="*/ 1101 h 1836"/>
                  <a:gd name="T88" fmla="*/ 322 w 2124"/>
                  <a:gd name="T89" fmla="*/ 1157 h 1836"/>
                  <a:gd name="T90" fmla="*/ 440 w 2124"/>
                  <a:gd name="T91" fmla="*/ 1423 h 1836"/>
                  <a:gd name="T92" fmla="*/ 717 w 2124"/>
                  <a:gd name="T93" fmla="*/ 1399 h 1836"/>
                  <a:gd name="T94" fmla="*/ 761 w 2124"/>
                  <a:gd name="T95" fmla="*/ 1367 h 1836"/>
                  <a:gd name="T96" fmla="*/ 916 w 2124"/>
                  <a:gd name="T97" fmla="*/ 1076 h 1836"/>
                  <a:gd name="T98" fmla="*/ 738 w 2124"/>
                  <a:gd name="T99" fmla="*/ 1329 h 1836"/>
                  <a:gd name="T100" fmla="*/ 350 w 2124"/>
                  <a:gd name="T101" fmla="*/ 1122 h 1836"/>
                  <a:gd name="T102" fmla="*/ 322 w 2124"/>
                  <a:gd name="T103" fmla="*/ 1157 h 1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4" h="1836">
                    <a:moveTo>
                      <a:pt x="512" y="503"/>
                    </a:moveTo>
                    <a:cubicBezTo>
                      <a:pt x="505" y="503"/>
                      <a:pt x="499" y="501"/>
                      <a:pt x="495" y="496"/>
                    </a:cubicBezTo>
                    <a:cubicBezTo>
                      <a:pt x="461" y="456"/>
                      <a:pt x="413" y="433"/>
                      <a:pt x="361" y="433"/>
                    </a:cubicBezTo>
                    <a:cubicBezTo>
                      <a:pt x="309" y="433"/>
                      <a:pt x="260" y="456"/>
                      <a:pt x="227" y="496"/>
                    </a:cubicBezTo>
                    <a:cubicBezTo>
                      <a:pt x="219" y="505"/>
                      <a:pt x="205" y="506"/>
                      <a:pt x="196" y="498"/>
                    </a:cubicBezTo>
                    <a:cubicBezTo>
                      <a:pt x="187" y="491"/>
                      <a:pt x="186" y="477"/>
                      <a:pt x="193" y="467"/>
                    </a:cubicBezTo>
                    <a:cubicBezTo>
                      <a:pt x="235" y="418"/>
                      <a:pt x="296" y="389"/>
                      <a:pt x="361" y="389"/>
                    </a:cubicBezTo>
                    <a:cubicBezTo>
                      <a:pt x="426" y="389"/>
                      <a:pt x="487" y="418"/>
                      <a:pt x="528" y="467"/>
                    </a:cubicBezTo>
                    <a:cubicBezTo>
                      <a:pt x="536" y="477"/>
                      <a:pt x="535" y="491"/>
                      <a:pt x="526" y="498"/>
                    </a:cubicBezTo>
                    <a:cubicBezTo>
                      <a:pt x="522" y="502"/>
                      <a:pt x="516" y="503"/>
                      <a:pt x="512" y="503"/>
                    </a:cubicBezTo>
                    <a:close/>
                    <a:moveTo>
                      <a:pt x="994" y="498"/>
                    </a:moveTo>
                    <a:cubicBezTo>
                      <a:pt x="1003" y="491"/>
                      <a:pt x="1004" y="477"/>
                      <a:pt x="996" y="467"/>
                    </a:cubicBezTo>
                    <a:cubicBezTo>
                      <a:pt x="955" y="418"/>
                      <a:pt x="894" y="389"/>
                      <a:pt x="829" y="389"/>
                    </a:cubicBezTo>
                    <a:cubicBezTo>
                      <a:pt x="764" y="389"/>
                      <a:pt x="703" y="418"/>
                      <a:pt x="661" y="467"/>
                    </a:cubicBezTo>
                    <a:cubicBezTo>
                      <a:pt x="654" y="477"/>
                      <a:pt x="655" y="491"/>
                      <a:pt x="664" y="498"/>
                    </a:cubicBezTo>
                    <a:cubicBezTo>
                      <a:pt x="673" y="506"/>
                      <a:pt x="687" y="505"/>
                      <a:pt x="695" y="496"/>
                    </a:cubicBezTo>
                    <a:cubicBezTo>
                      <a:pt x="728" y="456"/>
                      <a:pt x="777" y="433"/>
                      <a:pt x="829" y="433"/>
                    </a:cubicBezTo>
                    <a:cubicBezTo>
                      <a:pt x="881" y="433"/>
                      <a:pt x="929" y="456"/>
                      <a:pt x="963" y="496"/>
                    </a:cubicBezTo>
                    <a:cubicBezTo>
                      <a:pt x="967" y="501"/>
                      <a:pt x="973" y="503"/>
                      <a:pt x="980" y="503"/>
                    </a:cubicBezTo>
                    <a:cubicBezTo>
                      <a:pt x="985" y="503"/>
                      <a:pt x="990" y="502"/>
                      <a:pt x="994" y="498"/>
                    </a:cubicBezTo>
                    <a:close/>
                    <a:moveTo>
                      <a:pt x="1462" y="498"/>
                    </a:moveTo>
                    <a:cubicBezTo>
                      <a:pt x="1471" y="491"/>
                      <a:pt x="1472" y="477"/>
                      <a:pt x="1465" y="467"/>
                    </a:cubicBezTo>
                    <a:cubicBezTo>
                      <a:pt x="1423" y="418"/>
                      <a:pt x="1362" y="389"/>
                      <a:pt x="1297" y="389"/>
                    </a:cubicBezTo>
                    <a:cubicBezTo>
                      <a:pt x="1232" y="389"/>
                      <a:pt x="1171" y="418"/>
                      <a:pt x="1130" y="467"/>
                    </a:cubicBezTo>
                    <a:cubicBezTo>
                      <a:pt x="1122" y="477"/>
                      <a:pt x="1123" y="491"/>
                      <a:pt x="1132" y="498"/>
                    </a:cubicBezTo>
                    <a:cubicBezTo>
                      <a:pt x="1142" y="506"/>
                      <a:pt x="1155" y="505"/>
                      <a:pt x="1163" y="496"/>
                    </a:cubicBezTo>
                    <a:cubicBezTo>
                      <a:pt x="1197" y="456"/>
                      <a:pt x="1245" y="433"/>
                      <a:pt x="1297" y="433"/>
                    </a:cubicBezTo>
                    <a:cubicBezTo>
                      <a:pt x="1349" y="433"/>
                      <a:pt x="1398" y="456"/>
                      <a:pt x="1431" y="496"/>
                    </a:cubicBezTo>
                    <a:cubicBezTo>
                      <a:pt x="1435" y="501"/>
                      <a:pt x="1441" y="503"/>
                      <a:pt x="1448" y="503"/>
                    </a:cubicBezTo>
                    <a:cubicBezTo>
                      <a:pt x="1453" y="503"/>
                      <a:pt x="1458" y="502"/>
                      <a:pt x="1462" y="498"/>
                    </a:cubicBezTo>
                    <a:close/>
                    <a:moveTo>
                      <a:pt x="1930" y="498"/>
                    </a:moveTo>
                    <a:cubicBezTo>
                      <a:pt x="1939" y="491"/>
                      <a:pt x="1940" y="477"/>
                      <a:pt x="1933" y="467"/>
                    </a:cubicBezTo>
                    <a:cubicBezTo>
                      <a:pt x="1891" y="418"/>
                      <a:pt x="1830" y="389"/>
                      <a:pt x="1765" y="389"/>
                    </a:cubicBezTo>
                    <a:cubicBezTo>
                      <a:pt x="1700" y="389"/>
                      <a:pt x="1639" y="418"/>
                      <a:pt x="1598" y="467"/>
                    </a:cubicBezTo>
                    <a:cubicBezTo>
                      <a:pt x="1590" y="477"/>
                      <a:pt x="1591" y="491"/>
                      <a:pt x="1600" y="498"/>
                    </a:cubicBezTo>
                    <a:cubicBezTo>
                      <a:pt x="1610" y="506"/>
                      <a:pt x="1624" y="505"/>
                      <a:pt x="1631" y="496"/>
                    </a:cubicBezTo>
                    <a:cubicBezTo>
                      <a:pt x="1665" y="456"/>
                      <a:pt x="1713" y="433"/>
                      <a:pt x="1765" y="433"/>
                    </a:cubicBezTo>
                    <a:cubicBezTo>
                      <a:pt x="1817" y="433"/>
                      <a:pt x="1866" y="456"/>
                      <a:pt x="1899" y="496"/>
                    </a:cubicBezTo>
                    <a:cubicBezTo>
                      <a:pt x="1903" y="501"/>
                      <a:pt x="1910" y="503"/>
                      <a:pt x="1916" y="503"/>
                    </a:cubicBezTo>
                    <a:cubicBezTo>
                      <a:pt x="1921" y="503"/>
                      <a:pt x="1926" y="502"/>
                      <a:pt x="1930" y="498"/>
                    </a:cubicBezTo>
                    <a:close/>
                    <a:moveTo>
                      <a:pt x="760" y="304"/>
                    </a:moveTo>
                    <a:cubicBezTo>
                      <a:pt x="769" y="296"/>
                      <a:pt x="770" y="282"/>
                      <a:pt x="762" y="273"/>
                    </a:cubicBezTo>
                    <a:cubicBezTo>
                      <a:pt x="721" y="223"/>
                      <a:pt x="660" y="195"/>
                      <a:pt x="595" y="195"/>
                    </a:cubicBezTo>
                    <a:cubicBezTo>
                      <a:pt x="530" y="195"/>
                      <a:pt x="469" y="223"/>
                      <a:pt x="427" y="273"/>
                    </a:cubicBezTo>
                    <a:cubicBezTo>
                      <a:pt x="420" y="282"/>
                      <a:pt x="421" y="296"/>
                      <a:pt x="430" y="304"/>
                    </a:cubicBezTo>
                    <a:cubicBezTo>
                      <a:pt x="439" y="312"/>
                      <a:pt x="453" y="310"/>
                      <a:pt x="461" y="301"/>
                    </a:cubicBezTo>
                    <a:cubicBezTo>
                      <a:pt x="494" y="262"/>
                      <a:pt x="543" y="239"/>
                      <a:pt x="595" y="239"/>
                    </a:cubicBezTo>
                    <a:cubicBezTo>
                      <a:pt x="647" y="239"/>
                      <a:pt x="695" y="262"/>
                      <a:pt x="729" y="301"/>
                    </a:cubicBezTo>
                    <a:cubicBezTo>
                      <a:pt x="733" y="306"/>
                      <a:pt x="739" y="309"/>
                      <a:pt x="746" y="309"/>
                    </a:cubicBezTo>
                    <a:cubicBezTo>
                      <a:pt x="751" y="309"/>
                      <a:pt x="756" y="307"/>
                      <a:pt x="760" y="304"/>
                    </a:cubicBezTo>
                    <a:close/>
                    <a:moveTo>
                      <a:pt x="1228" y="304"/>
                    </a:moveTo>
                    <a:cubicBezTo>
                      <a:pt x="1237" y="296"/>
                      <a:pt x="1238" y="282"/>
                      <a:pt x="1230" y="273"/>
                    </a:cubicBezTo>
                    <a:cubicBezTo>
                      <a:pt x="1189" y="223"/>
                      <a:pt x="1128" y="195"/>
                      <a:pt x="1063" y="195"/>
                    </a:cubicBezTo>
                    <a:cubicBezTo>
                      <a:pt x="998" y="195"/>
                      <a:pt x="937" y="223"/>
                      <a:pt x="896" y="273"/>
                    </a:cubicBezTo>
                    <a:cubicBezTo>
                      <a:pt x="888" y="282"/>
                      <a:pt x="889" y="296"/>
                      <a:pt x="898" y="304"/>
                    </a:cubicBezTo>
                    <a:cubicBezTo>
                      <a:pt x="908" y="312"/>
                      <a:pt x="921" y="310"/>
                      <a:pt x="929" y="301"/>
                    </a:cubicBezTo>
                    <a:cubicBezTo>
                      <a:pt x="963" y="262"/>
                      <a:pt x="1011" y="239"/>
                      <a:pt x="1063" y="239"/>
                    </a:cubicBezTo>
                    <a:cubicBezTo>
                      <a:pt x="1115" y="239"/>
                      <a:pt x="1163" y="262"/>
                      <a:pt x="1197" y="301"/>
                    </a:cubicBezTo>
                    <a:cubicBezTo>
                      <a:pt x="1201" y="306"/>
                      <a:pt x="1207" y="309"/>
                      <a:pt x="1214" y="309"/>
                    </a:cubicBezTo>
                    <a:cubicBezTo>
                      <a:pt x="1219" y="309"/>
                      <a:pt x="1224" y="307"/>
                      <a:pt x="1228" y="304"/>
                    </a:cubicBezTo>
                    <a:close/>
                    <a:moveTo>
                      <a:pt x="1696" y="304"/>
                    </a:moveTo>
                    <a:cubicBezTo>
                      <a:pt x="1705" y="296"/>
                      <a:pt x="1706" y="282"/>
                      <a:pt x="1699" y="273"/>
                    </a:cubicBezTo>
                    <a:cubicBezTo>
                      <a:pt x="1657" y="223"/>
                      <a:pt x="1596" y="195"/>
                      <a:pt x="1531" y="195"/>
                    </a:cubicBezTo>
                    <a:cubicBezTo>
                      <a:pt x="1466" y="195"/>
                      <a:pt x="1405" y="223"/>
                      <a:pt x="1364" y="273"/>
                    </a:cubicBezTo>
                    <a:cubicBezTo>
                      <a:pt x="1356" y="282"/>
                      <a:pt x="1357" y="296"/>
                      <a:pt x="1366" y="304"/>
                    </a:cubicBezTo>
                    <a:cubicBezTo>
                      <a:pt x="1376" y="312"/>
                      <a:pt x="1389" y="310"/>
                      <a:pt x="1397" y="301"/>
                    </a:cubicBezTo>
                    <a:cubicBezTo>
                      <a:pt x="1431" y="262"/>
                      <a:pt x="1479" y="239"/>
                      <a:pt x="1531" y="239"/>
                    </a:cubicBezTo>
                    <a:cubicBezTo>
                      <a:pt x="1583" y="239"/>
                      <a:pt x="1632" y="262"/>
                      <a:pt x="1665" y="301"/>
                    </a:cubicBezTo>
                    <a:cubicBezTo>
                      <a:pt x="1669" y="306"/>
                      <a:pt x="1675" y="309"/>
                      <a:pt x="1682" y="309"/>
                    </a:cubicBezTo>
                    <a:cubicBezTo>
                      <a:pt x="1687" y="309"/>
                      <a:pt x="1692" y="307"/>
                      <a:pt x="1696" y="304"/>
                    </a:cubicBezTo>
                    <a:close/>
                    <a:moveTo>
                      <a:pt x="994" y="109"/>
                    </a:moveTo>
                    <a:cubicBezTo>
                      <a:pt x="1003" y="101"/>
                      <a:pt x="1004" y="88"/>
                      <a:pt x="996" y="78"/>
                    </a:cubicBezTo>
                    <a:cubicBezTo>
                      <a:pt x="955" y="29"/>
                      <a:pt x="894" y="0"/>
                      <a:pt x="829" y="0"/>
                    </a:cubicBezTo>
                    <a:cubicBezTo>
                      <a:pt x="764" y="0"/>
                      <a:pt x="703" y="29"/>
                      <a:pt x="661" y="78"/>
                    </a:cubicBezTo>
                    <a:cubicBezTo>
                      <a:pt x="654" y="88"/>
                      <a:pt x="655" y="101"/>
                      <a:pt x="664" y="109"/>
                    </a:cubicBezTo>
                    <a:cubicBezTo>
                      <a:pt x="673" y="117"/>
                      <a:pt x="687" y="116"/>
                      <a:pt x="695" y="107"/>
                    </a:cubicBezTo>
                    <a:cubicBezTo>
                      <a:pt x="728" y="67"/>
                      <a:pt x="777" y="44"/>
                      <a:pt x="829" y="44"/>
                    </a:cubicBezTo>
                    <a:cubicBezTo>
                      <a:pt x="881" y="44"/>
                      <a:pt x="929" y="67"/>
                      <a:pt x="963" y="107"/>
                    </a:cubicBezTo>
                    <a:cubicBezTo>
                      <a:pt x="967" y="112"/>
                      <a:pt x="973" y="114"/>
                      <a:pt x="980" y="114"/>
                    </a:cubicBezTo>
                    <a:cubicBezTo>
                      <a:pt x="985" y="114"/>
                      <a:pt x="990" y="113"/>
                      <a:pt x="994" y="109"/>
                    </a:cubicBezTo>
                    <a:close/>
                    <a:moveTo>
                      <a:pt x="1462" y="109"/>
                    </a:moveTo>
                    <a:cubicBezTo>
                      <a:pt x="1471" y="101"/>
                      <a:pt x="1472" y="88"/>
                      <a:pt x="1465" y="78"/>
                    </a:cubicBezTo>
                    <a:cubicBezTo>
                      <a:pt x="1423" y="29"/>
                      <a:pt x="1362" y="0"/>
                      <a:pt x="1297" y="0"/>
                    </a:cubicBezTo>
                    <a:cubicBezTo>
                      <a:pt x="1232" y="0"/>
                      <a:pt x="1171" y="29"/>
                      <a:pt x="1130" y="78"/>
                    </a:cubicBezTo>
                    <a:cubicBezTo>
                      <a:pt x="1122" y="88"/>
                      <a:pt x="1123" y="101"/>
                      <a:pt x="1132" y="109"/>
                    </a:cubicBezTo>
                    <a:cubicBezTo>
                      <a:pt x="1142" y="117"/>
                      <a:pt x="1155" y="116"/>
                      <a:pt x="1163" y="107"/>
                    </a:cubicBezTo>
                    <a:cubicBezTo>
                      <a:pt x="1197" y="67"/>
                      <a:pt x="1245" y="44"/>
                      <a:pt x="1297" y="44"/>
                    </a:cubicBezTo>
                    <a:cubicBezTo>
                      <a:pt x="1349" y="44"/>
                      <a:pt x="1398" y="67"/>
                      <a:pt x="1431" y="107"/>
                    </a:cubicBezTo>
                    <a:cubicBezTo>
                      <a:pt x="1435" y="112"/>
                      <a:pt x="1441" y="114"/>
                      <a:pt x="1448" y="114"/>
                    </a:cubicBezTo>
                    <a:cubicBezTo>
                      <a:pt x="1453" y="114"/>
                      <a:pt x="1458" y="113"/>
                      <a:pt x="1462" y="109"/>
                    </a:cubicBezTo>
                    <a:close/>
                    <a:moveTo>
                      <a:pt x="2060" y="662"/>
                    </a:moveTo>
                    <a:cubicBezTo>
                      <a:pt x="2018" y="612"/>
                      <a:pt x="1957" y="584"/>
                      <a:pt x="1893" y="584"/>
                    </a:cubicBezTo>
                    <a:cubicBezTo>
                      <a:pt x="1839" y="584"/>
                      <a:pt x="1788" y="603"/>
                      <a:pt x="1749" y="638"/>
                    </a:cubicBezTo>
                    <a:cubicBezTo>
                      <a:pt x="1760" y="647"/>
                      <a:pt x="1771" y="657"/>
                      <a:pt x="1781" y="667"/>
                    </a:cubicBezTo>
                    <a:cubicBezTo>
                      <a:pt x="1781" y="667"/>
                      <a:pt x="1781" y="668"/>
                      <a:pt x="1781" y="668"/>
                    </a:cubicBezTo>
                    <a:cubicBezTo>
                      <a:pt x="1813" y="642"/>
                      <a:pt x="1852" y="628"/>
                      <a:pt x="1893" y="628"/>
                    </a:cubicBezTo>
                    <a:cubicBezTo>
                      <a:pt x="1944" y="628"/>
                      <a:pt x="1993" y="651"/>
                      <a:pt x="2026" y="690"/>
                    </a:cubicBezTo>
                    <a:cubicBezTo>
                      <a:pt x="2031" y="695"/>
                      <a:pt x="2037" y="698"/>
                      <a:pt x="2043" y="698"/>
                    </a:cubicBezTo>
                    <a:cubicBezTo>
                      <a:pt x="2048" y="698"/>
                      <a:pt x="2053" y="696"/>
                      <a:pt x="2057" y="693"/>
                    </a:cubicBezTo>
                    <a:cubicBezTo>
                      <a:pt x="2067" y="685"/>
                      <a:pt x="2068" y="671"/>
                      <a:pt x="2060" y="662"/>
                    </a:cubicBezTo>
                    <a:close/>
                    <a:moveTo>
                      <a:pt x="377" y="638"/>
                    </a:moveTo>
                    <a:cubicBezTo>
                      <a:pt x="338" y="603"/>
                      <a:pt x="287" y="584"/>
                      <a:pt x="233" y="584"/>
                    </a:cubicBezTo>
                    <a:cubicBezTo>
                      <a:pt x="169" y="584"/>
                      <a:pt x="108" y="612"/>
                      <a:pt x="66" y="662"/>
                    </a:cubicBezTo>
                    <a:cubicBezTo>
                      <a:pt x="58" y="671"/>
                      <a:pt x="59" y="685"/>
                      <a:pt x="69" y="693"/>
                    </a:cubicBezTo>
                    <a:cubicBezTo>
                      <a:pt x="78" y="701"/>
                      <a:pt x="92" y="699"/>
                      <a:pt x="100" y="690"/>
                    </a:cubicBezTo>
                    <a:cubicBezTo>
                      <a:pt x="133" y="651"/>
                      <a:pt x="182" y="628"/>
                      <a:pt x="233" y="628"/>
                    </a:cubicBezTo>
                    <a:cubicBezTo>
                      <a:pt x="274" y="628"/>
                      <a:pt x="313" y="642"/>
                      <a:pt x="344" y="667"/>
                    </a:cubicBezTo>
                    <a:cubicBezTo>
                      <a:pt x="355" y="657"/>
                      <a:pt x="366" y="647"/>
                      <a:pt x="377" y="638"/>
                    </a:cubicBezTo>
                    <a:close/>
                    <a:moveTo>
                      <a:pt x="2052" y="1567"/>
                    </a:moveTo>
                    <a:cubicBezTo>
                      <a:pt x="2030" y="1534"/>
                      <a:pt x="2004" y="1506"/>
                      <a:pt x="1974" y="1492"/>
                    </a:cubicBezTo>
                    <a:cubicBezTo>
                      <a:pt x="1885" y="1451"/>
                      <a:pt x="1720" y="1449"/>
                      <a:pt x="1720" y="1449"/>
                    </a:cubicBezTo>
                    <a:cubicBezTo>
                      <a:pt x="1720" y="1449"/>
                      <a:pt x="1614" y="1537"/>
                      <a:pt x="1533" y="1602"/>
                    </a:cubicBezTo>
                    <a:cubicBezTo>
                      <a:pt x="1530" y="1604"/>
                      <a:pt x="1527" y="1604"/>
                      <a:pt x="1524" y="1602"/>
                    </a:cubicBezTo>
                    <a:cubicBezTo>
                      <a:pt x="1464" y="1555"/>
                      <a:pt x="1337" y="1449"/>
                      <a:pt x="1337" y="1449"/>
                    </a:cubicBezTo>
                    <a:cubicBezTo>
                      <a:pt x="1337" y="1449"/>
                      <a:pt x="1197" y="1451"/>
                      <a:pt x="1105" y="1483"/>
                    </a:cubicBezTo>
                    <a:cubicBezTo>
                      <a:pt x="1123" y="1499"/>
                      <a:pt x="1139" y="1519"/>
                      <a:pt x="1155" y="1543"/>
                    </a:cubicBezTo>
                    <a:cubicBezTo>
                      <a:pt x="1208" y="1621"/>
                      <a:pt x="1235" y="1714"/>
                      <a:pt x="1235" y="1811"/>
                    </a:cubicBezTo>
                    <a:cubicBezTo>
                      <a:pt x="1235" y="1814"/>
                      <a:pt x="1235" y="1814"/>
                      <a:pt x="1235" y="1814"/>
                    </a:cubicBezTo>
                    <a:cubicBezTo>
                      <a:pt x="1235" y="1821"/>
                      <a:pt x="1234" y="1829"/>
                      <a:pt x="1231" y="1836"/>
                    </a:cubicBezTo>
                    <a:cubicBezTo>
                      <a:pt x="2102" y="1836"/>
                      <a:pt x="2102" y="1836"/>
                      <a:pt x="2102" y="1836"/>
                    </a:cubicBezTo>
                    <a:cubicBezTo>
                      <a:pt x="2114" y="1836"/>
                      <a:pt x="2124" y="1826"/>
                      <a:pt x="2124" y="1814"/>
                    </a:cubicBezTo>
                    <a:cubicBezTo>
                      <a:pt x="2124" y="1811"/>
                      <a:pt x="2124" y="1811"/>
                      <a:pt x="2124" y="1811"/>
                    </a:cubicBezTo>
                    <a:cubicBezTo>
                      <a:pt x="2124" y="1724"/>
                      <a:pt x="2100" y="1639"/>
                      <a:pt x="2052" y="1567"/>
                    </a:cubicBezTo>
                    <a:close/>
                    <a:moveTo>
                      <a:pt x="1191" y="1811"/>
                    </a:moveTo>
                    <a:cubicBezTo>
                      <a:pt x="1191" y="1724"/>
                      <a:pt x="1167" y="1639"/>
                      <a:pt x="1119" y="1567"/>
                    </a:cubicBezTo>
                    <a:cubicBezTo>
                      <a:pt x="1097" y="1534"/>
                      <a:pt x="1071" y="1506"/>
                      <a:pt x="1042" y="1492"/>
                    </a:cubicBezTo>
                    <a:cubicBezTo>
                      <a:pt x="952" y="1451"/>
                      <a:pt x="787" y="1449"/>
                      <a:pt x="787" y="1449"/>
                    </a:cubicBezTo>
                    <a:cubicBezTo>
                      <a:pt x="787" y="1449"/>
                      <a:pt x="787" y="1449"/>
                      <a:pt x="787" y="1449"/>
                    </a:cubicBezTo>
                    <a:cubicBezTo>
                      <a:pt x="787" y="1449"/>
                      <a:pt x="722" y="1541"/>
                      <a:pt x="592" y="1541"/>
                    </a:cubicBezTo>
                    <a:cubicBezTo>
                      <a:pt x="599" y="1541"/>
                      <a:pt x="599" y="1541"/>
                      <a:pt x="599" y="1541"/>
                    </a:cubicBezTo>
                    <a:cubicBezTo>
                      <a:pt x="469" y="1541"/>
                      <a:pt x="404" y="1449"/>
                      <a:pt x="404" y="1449"/>
                    </a:cubicBezTo>
                    <a:cubicBezTo>
                      <a:pt x="404" y="1449"/>
                      <a:pt x="404" y="1449"/>
                      <a:pt x="404" y="1449"/>
                    </a:cubicBezTo>
                    <a:cubicBezTo>
                      <a:pt x="404" y="1449"/>
                      <a:pt x="239" y="1451"/>
                      <a:pt x="150" y="1492"/>
                    </a:cubicBezTo>
                    <a:cubicBezTo>
                      <a:pt x="120" y="1506"/>
                      <a:pt x="94" y="1534"/>
                      <a:pt x="72" y="1567"/>
                    </a:cubicBezTo>
                    <a:cubicBezTo>
                      <a:pt x="24" y="1639"/>
                      <a:pt x="0" y="1724"/>
                      <a:pt x="0" y="1811"/>
                    </a:cubicBezTo>
                    <a:cubicBezTo>
                      <a:pt x="0" y="1814"/>
                      <a:pt x="0" y="1814"/>
                      <a:pt x="0" y="1814"/>
                    </a:cubicBezTo>
                    <a:cubicBezTo>
                      <a:pt x="0" y="1826"/>
                      <a:pt x="10" y="1836"/>
                      <a:pt x="22" y="1836"/>
                    </a:cubicBezTo>
                    <a:cubicBezTo>
                      <a:pt x="1169" y="1836"/>
                      <a:pt x="1169" y="1836"/>
                      <a:pt x="1169" y="1836"/>
                    </a:cubicBezTo>
                    <a:cubicBezTo>
                      <a:pt x="1181" y="1836"/>
                      <a:pt x="1191" y="1826"/>
                      <a:pt x="1191" y="1814"/>
                    </a:cubicBezTo>
                    <a:lnTo>
                      <a:pt x="1191" y="1811"/>
                    </a:lnTo>
                    <a:close/>
                    <a:moveTo>
                      <a:pt x="1228" y="693"/>
                    </a:moveTo>
                    <a:cubicBezTo>
                      <a:pt x="1237" y="685"/>
                      <a:pt x="1238" y="671"/>
                      <a:pt x="1230" y="662"/>
                    </a:cubicBezTo>
                    <a:cubicBezTo>
                      <a:pt x="1189" y="612"/>
                      <a:pt x="1128" y="584"/>
                      <a:pt x="1063" y="584"/>
                    </a:cubicBezTo>
                    <a:cubicBezTo>
                      <a:pt x="998" y="584"/>
                      <a:pt x="937" y="612"/>
                      <a:pt x="896" y="662"/>
                    </a:cubicBezTo>
                    <a:cubicBezTo>
                      <a:pt x="888" y="671"/>
                      <a:pt x="889" y="685"/>
                      <a:pt x="898" y="693"/>
                    </a:cubicBezTo>
                    <a:cubicBezTo>
                      <a:pt x="908" y="701"/>
                      <a:pt x="921" y="699"/>
                      <a:pt x="929" y="690"/>
                    </a:cubicBezTo>
                    <a:cubicBezTo>
                      <a:pt x="963" y="651"/>
                      <a:pt x="1011" y="628"/>
                      <a:pt x="1063" y="628"/>
                    </a:cubicBezTo>
                    <a:cubicBezTo>
                      <a:pt x="1115" y="628"/>
                      <a:pt x="1163" y="651"/>
                      <a:pt x="1197" y="690"/>
                    </a:cubicBezTo>
                    <a:cubicBezTo>
                      <a:pt x="1201" y="695"/>
                      <a:pt x="1207" y="698"/>
                      <a:pt x="1214" y="698"/>
                    </a:cubicBezTo>
                    <a:cubicBezTo>
                      <a:pt x="1219" y="698"/>
                      <a:pt x="1224" y="696"/>
                      <a:pt x="1228" y="693"/>
                    </a:cubicBezTo>
                    <a:close/>
                    <a:moveTo>
                      <a:pt x="1255" y="1157"/>
                    </a:moveTo>
                    <a:cubicBezTo>
                      <a:pt x="1275" y="1207"/>
                      <a:pt x="1328" y="1336"/>
                      <a:pt x="1356" y="1362"/>
                    </a:cubicBezTo>
                    <a:cubicBezTo>
                      <a:pt x="1358" y="1363"/>
                      <a:pt x="1361" y="1365"/>
                      <a:pt x="1363" y="1367"/>
                    </a:cubicBezTo>
                    <a:cubicBezTo>
                      <a:pt x="1363" y="1414"/>
                      <a:pt x="1363" y="1414"/>
                      <a:pt x="1363" y="1414"/>
                    </a:cubicBezTo>
                    <a:cubicBezTo>
                      <a:pt x="1365" y="1415"/>
                      <a:pt x="1365" y="1415"/>
                      <a:pt x="1365" y="1415"/>
                    </a:cubicBezTo>
                    <a:cubicBezTo>
                      <a:pt x="1365" y="1416"/>
                      <a:pt x="1383" y="1430"/>
                      <a:pt x="1407" y="1450"/>
                    </a:cubicBezTo>
                    <a:cubicBezTo>
                      <a:pt x="1407" y="1399"/>
                      <a:pt x="1407" y="1399"/>
                      <a:pt x="1407" y="1399"/>
                    </a:cubicBezTo>
                    <a:cubicBezTo>
                      <a:pt x="1444" y="1422"/>
                      <a:pt x="1492" y="1445"/>
                      <a:pt x="1528" y="1445"/>
                    </a:cubicBezTo>
                    <a:cubicBezTo>
                      <a:pt x="1565" y="1445"/>
                      <a:pt x="1613" y="1422"/>
                      <a:pt x="1649" y="1399"/>
                    </a:cubicBezTo>
                    <a:cubicBezTo>
                      <a:pt x="1649" y="1450"/>
                      <a:pt x="1649" y="1450"/>
                      <a:pt x="1649" y="1450"/>
                    </a:cubicBezTo>
                    <a:cubicBezTo>
                      <a:pt x="1675" y="1430"/>
                      <a:pt x="1692" y="1415"/>
                      <a:pt x="1692" y="1415"/>
                    </a:cubicBezTo>
                    <a:cubicBezTo>
                      <a:pt x="1693" y="1414"/>
                      <a:pt x="1693" y="1414"/>
                      <a:pt x="1693" y="1414"/>
                    </a:cubicBezTo>
                    <a:cubicBezTo>
                      <a:pt x="1693" y="1368"/>
                      <a:pt x="1693" y="1368"/>
                      <a:pt x="1693" y="1368"/>
                    </a:cubicBezTo>
                    <a:cubicBezTo>
                      <a:pt x="1696" y="1365"/>
                      <a:pt x="1699" y="1363"/>
                      <a:pt x="1701" y="1362"/>
                    </a:cubicBezTo>
                    <a:cubicBezTo>
                      <a:pt x="1729" y="1336"/>
                      <a:pt x="1782" y="1207"/>
                      <a:pt x="1802" y="1157"/>
                    </a:cubicBezTo>
                    <a:cubicBezTo>
                      <a:pt x="1837" y="1135"/>
                      <a:pt x="1846" y="1097"/>
                      <a:pt x="1849" y="1081"/>
                    </a:cubicBezTo>
                    <a:cubicBezTo>
                      <a:pt x="1849" y="1079"/>
                      <a:pt x="1849" y="1078"/>
                      <a:pt x="1849" y="1076"/>
                    </a:cubicBezTo>
                    <a:cubicBezTo>
                      <a:pt x="1796" y="1101"/>
                      <a:pt x="1796" y="1101"/>
                      <a:pt x="1796" y="1101"/>
                    </a:cubicBezTo>
                    <a:cubicBezTo>
                      <a:pt x="1791" y="1109"/>
                      <a:pt x="1784" y="1117"/>
                      <a:pt x="1774" y="1122"/>
                    </a:cubicBezTo>
                    <a:cubicBezTo>
                      <a:pt x="1769" y="1124"/>
                      <a:pt x="1766" y="1129"/>
                      <a:pt x="1764" y="1134"/>
                    </a:cubicBezTo>
                    <a:cubicBezTo>
                      <a:pt x="1731" y="1217"/>
                      <a:pt x="1687" y="1315"/>
                      <a:pt x="1671" y="1329"/>
                    </a:cubicBezTo>
                    <a:cubicBezTo>
                      <a:pt x="1644" y="1353"/>
                      <a:pt x="1568" y="1401"/>
                      <a:pt x="1528" y="1401"/>
                    </a:cubicBezTo>
                    <a:cubicBezTo>
                      <a:pt x="1489" y="1401"/>
                      <a:pt x="1413" y="1353"/>
                      <a:pt x="1385" y="1329"/>
                    </a:cubicBezTo>
                    <a:cubicBezTo>
                      <a:pt x="1370" y="1315"/>
                      <a:pt x="1326" y="1217"/>
                      <a:pt x="1293" y="1134"/>
                    </a:cubicBezTo>
                    <a:cubicBezTo>
                      <a:pt x="1291" y="1129"/>
                      <a:pt x="1287" y="1124"/>
                      <a:pt x="1283" y="1122"/>
                    </a:cubicBezTo>
                    <a:cubicBezTo>
                      <a:pt x="1273" y="1117"/>
                      <a:pt x="1266" y="1109"/>
                      <a:pt x="1261" y="1101"/>
                    </a:cubicBezTo>
                    <a:cubicBezTo>
                      <a:pt x="1208" y="1076"/>
                      <a:pt x="1208" y="1076"/>
                      <a:pt x="1208" y="1076"/>
                    </a:cubicBezTo>
                    <a:cubicBezTo>
                      <a:pt x="1208" y="1078"/>
                      <a:pt x="1208" y="1080"/>
                      <a:pt x="1208" y="1083"/>
                    </a:cubicBezTo>
                    <a:cubicBezTo>
                      <a:pt x="1212" y="1102"/>
                      <a:pt x="1222" y="1136"/>
                      <a:pt x="1255" y="1157"/>
                    </a:cubicBezTo>
                    <a:close/>
                    <a:moveTo>
                      <a:pt x="322" y="1157"/>
                    </a:moveTo>
                    <a:cubicBezTo>
                      <a:pt x="342" y="1207"/>
                      <a:pt x="395" y="1336"/>
                      <a:pt x="423" y="1362"/>
                    </a:cubicBezTo>
                    <a:cubicBezTo>
                      <a:pt x="425" y="1363"/>
                      <a:pt x="428" y="1365"/>
                      <a:pt x="431" y="1368"/>
                    </a:cubicBezTo>
                    <a:cubicBezTo>
                      <a:pt x="431" y="1411"/>
                      <a:pt x="431" y="1411"/>
                      <a:pt x="431" y="1411"/>
                    </a:cubicBezTo>
                    <a:cubicBezTo>
                      <a:pt x="440" y="1423"/>
                      <a:pt x="440" y="1423"/>
                      <a:pt x="440" y="1423"/>
                    </a:cubicBezTo>
                    <a:cubicBezTo>
                      <a:pt x="441" y="1425"/>
                      <a:pt x="452" y="1440"/>
                      <a:pt x="475" y="1457"/>
                    </a:cubicBezTo>
                    <a:cubicBezTo>
                      <a:pt x="475" y="1399"/>
                      <a:pt x="475" y="1399"/>
                      <a:pt x="475" y="1399"/>
                    </a:cubicBezTo>
                    <a:cubicBezTo>
                      <a:pt x="511" y="1422"/>
                      <a:pt x="559" y="1445"/>
                      <a:pt x="595" y="1445"/>
                    </a:cubicBezTo>
                    <a:cubicBezTo>
                      <a:pt x="632" y="1445"/>
                      <a:pt x="680" y="1422"/>
                      <a:pt x="717" y="1399"/>
                    </a:cubicBezTo>
                    <a:cubicBezTo>
                      <a:pt x="717" y="1457"/>
                      <a:pt x="717" y="1457"/>
                      <a:pt x="717" y="1457"/>
                    </a:cubicBezTo>
                    <a:cubicBezTo>
                      <a:pt x="740" y="1440"/>
                      <a:pt x="751" y="1424"/>
                      <a:pt x="751" y="1423"/>
                    </a:cubicBezTo>
                    <a:cubicBezTo>
                      <a:pt x="761" y="1411"/>
                      <a:pt x="761" y="1411"/>
                      <a:pt x="761" y="1411"/>
                    </a:cubicBezTo>
                    <a:cubicBezTo>
                      <a:pt x="761" y="1367"/>
                      <a:pt x="761" y="1367"/>
                      <a:pt x="761" y="1367"/>
                    </a:cubicBezTo>
                    <a:cubicBezTo>
                      <a:pt x="763" y="1365"/>
                      <a:pt x="766" y="1363"/>
                      <a:pt x="768" y="1362"/>
                    </a:cubicBezTo>
                    <a:cubicBezTo>
                      <a:pt x="796" y="1336"/>
                      <a:pt x="849" y="1207"/>
                      <a:pt x="869" y="1157"/>
                    </a:cubicBezTo>
                    <a:cubicBezTo>
                      <a:pt x="904" y="1135"/>
                      <a:pt x="913" y="1097"/>
                      <a:pt x="916" y="1081"/>
                    </a:cubicBezTo>
                    <a:cubicBezTo>
                      <a:pt x="916" y="1079"/>
                      <a:pt x="916" y="1078"/>
                      <a:pt x="916" y="1076"/>
                    </a:cubicBezTo>
                    <a:cubicBezTo>
                      <a:pt x="863" y="1101"/>
                      <a:pt x="863" y="1101"/>
                      <a:pt x="863" y="1101"/>
                    </a:cubicBezTo>
                    <a:cubicBezTo>
                      <a:pt x="858" y="1109"/>
                      <a:pt x="851" y="1117"/>
                      <a:pt x="841" y="1122"/>
                    </a:cubicBezTo>
                    <a:cubicBezTo>
                      <a:pt x="836" y="1124"/>
                      <a:pt x="833" y="1129"/>
                      <a:pt x="831" y="1134"/>
                    </a:cubicBezTo>
                    <a:cubicBezTo>
                      <a:pt x="798" y="1217"/>
                      <a:pt x="754" y="1315"/>
                      <a:pt x="738" y="1329"/>
                    </a:cubicBezTo>
                    <a:cubicBezTo>
                      <a:pt x="711" y="1353"/>
                      <a:pt x="635" y="1401"/>
                      <a:pt x="595" y="1401"/>
                    </a:cubicBezTo>
                    <a:cubicBezTo>
                      <a:pt x="556" y="1401"/>
                      <a:pt x="480" y="1353"/>
                      <a:pt x="452" y="1329"/>
                    </a:cubicBezTo>
                    <a:cubicBezTo>
                      <a:pt x="437" y="1315"/>
                      <a:pt x="393" y="1217"/>
                      <a:pt x="360" y="1134"/>
                    </a:cubicBezTo>
                    <a:cubicBezTo>
                      <a:pt x="358" y="1129"/>
                      <a:pt x="354" y="1124"/>
                      <a:pt x="350" y="1122"/>
                    </a:cubicBezTo>
                    <a:cubicBezTo>
                      <a:pt x="339" y="1117"/>
                      <a:pt x="333" y="1109"/>
                      <a:pt x="328" y="1101"/>
                    </a:cubicBezTo>
                    <a:cubicBezTo>
                      <a:pt x="275" y="1076"/>
                      <a:pt x="275" y="1076"/>
                      <a:pt x="275" y="1076"/>
                    </a:cubicBezTo>
                    <a:cubicBezTo>
                      <a:pt x="275" y="1078"/>
                      <a:pt x="275" y="1080"/>
                      <a:pt x="275" y="1083"/>
                    </a:cubicBezTo>
                    <a:cubicBezTo>
                      <a:pt x="279" y="1102"/>
                      <a:pt x="289" y="1136"/>
                      <a:pt x="322" y="115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80" name="Freeform 21">
                <a:extLst>
                  <a:ext uri="{FF2B5EF4-FFF2-40B4-BE49-F238E27FC236}">
                    <a16:creationId xmlns:a16="http://schemas.microsoft.com/office/drawing/2014/main" id="{9A32768F-1F7B-41E4-AD1E-05F5E20985B3}"/>
                  </a:ext>
                </a:extLst>
              </p:cNvPr>
              <p:cNvSpPr>
                <a:spLocks noEditPoints="1"/>
              </p:cNvSpPr>
              <p:nvPr/>
            </p:nvSpPr>
            <p:spPr bwMode="auto">
              <a:xfrm>
                <a:off x="2383" y="1568"/>
                <a:ext cx="3019" cy="1511"/>
              </a:xfrm>
              <a:custGeom>
                <a:avLst/>
                <a:gdLst>
                  <a:gd name="T0" fmla="*/ 1542 w 1612"/>
                  <a:gd name="T1" fmla="*/ 422 h 806"/>
                  <a:gd name="T2" fmla="*/ 1542 w 1612"/>
                  <a:gd name="T3" fmla="*/ 421 h 806"/>
                  <a:gd name="T4" fmla="*/ 1508 w 1612"/>
                  <a:gd name="T5" fmla="*/ 469 h 806"/>
                  <a:gd name="T6" fmla="*/ 1505 w 1612"/>
                  <a:gd name="T7" fmla="*/ 470 h 806"/>
                  <a:gd name="T8" fmla="*/ 1485 w 1612"/>
                  <a:gd name="T9" fmla="*/ 470 h 806"/>
                  <a:gd name="T10" fmla="*/ 1483 w 1612"/>
                  <a:gd name="T11" fmla="*/ 470 h 806"/>
                  <a:gd name="T12" fmla="*/ 1074 w 1612"/>
                  <a:gd name="T13" fmla="*/ 253 h 806"/>
                  <a:gd name="T14" fmla="*/ 1070 w 1612"/>
                  <a:gd name="T15" fmla="*/ 253 h 806"/>
                  <a:gd name="T16" fmla="*/ 949 w 1612"/>
                  <a:gd name="T17" fmla="*/ 445 h 806"/>
                  <a:gd name="T18" fmla="*/ 949 w 1612"/>
                  <a:gd name="T19" fmla="*/ 444 h 806"/>
                  <a:gd name="T20" fmla="*/ 932 w 1612"/>
                  <a:gd name="T21" fmla="*/ 315 h 806"/>
                  <a:gd name="T22" fmla="*/ 1242 w 1612"/>
                  <a:gd name="T23" fmla="*/ 0 h 806"/>
                  <a:gd name="T24" fmla="*/ 1553 w 1612"/>
                  <a:gd name="T25" fmla="*/ 315 h 806"/>
                  <a:gd name="T26" fmla="*/ 1542 w 1612"/>
                  <a:gd name="T27" fmla="*/ 422 h 806"/>
                  <a:gd name="T28" fmla="*/ 619 w 1612"/>
                  <a:gd name="T29" fmla="*/ 317 h 806"/>
                  <a:gd name="T30" fmla="*/ 310 w 1612"/>
                  <a:gd name="T31" fmla="*/ 0 h 806"/>
                  <a:gd name="T32" fmla="*/ 0 w 1612"/>
                  <a:gd name="T33" fmla="*/ 317 h 806"/>
                  <a:gd name="T34" fmla="*/ 12 w 1612"/>
                  <a:gd name="T35" fmla="*/ 427 h 806"/>
                  <a:gd name="T36" fmla="*/ 12 w 1612"/>
                  <a:gd name="T37" fmla="*/ 428 h 806"/>
                  <a:gd name="T38" fmla="*/ 43 w 1612"/>
                  <a:gd name="T39" fmla="*/ 467 h 806"/>
                  <a:gd name="T40" fmla="*/ 64 w 1612"/>
                  <a:gd name="T41" fmla="*/ 469 h 806"/>
                  <a:gd name="T42" fmla="*/ 140 w 1612"/>
                  <a:gd name="T43" fmla="*/ 254 h 806"/>
                  <a:gd name="T44" fmla="*/ 547 w 1612"/>
                  <a:gd name="T45" fmla="*/ 240 h 806"/>
                  <a:gd name="T46" fmla="*/ 550 w 1612"/>
                  <a:gd name="T47" fmla="*/ 473 h 806"/>
                  <a:gd name="T48" fmla="*/ 573 w 1612"/>
                  <a:gd name="T49" fmla="*/ 473 h 806"/>
                  <a:gd name="T50" fmla="*/ 608 w 1612"/>
                  <a:gd name="T51" fmla="*/ 424 h 806"/>
                  <a:gd name="T52" fmla="*/ 608 w 1612"/>
                  <a:gd name="T53" fmla="*/ 424 h 806"/>
                  <a:gd name="T54" fmla="*/ 619 w 1612"/>
                  <a:gd name="T55" fmla="*/ 317 h 806"/>
                  <a:gd name="T56" fmla="*/ 1033 w 1612"/>
                  <a:gd name="T57" fmla="*/ 780 h 806"/>
                  <a:gd name="T58" fmla="*/ 946 w 1612"/>
                  <a:gd name="T59" fmla="*/ 612 h 806"/>
                  <a:gd name="T60" fmla="*/ 872 w 1612"/>
                  <a:gd name="T61" fmla="*/ 756 h 806"/>
                  <a:gd name="T62" fmla="*/ 949 w 1612"/>
                  <a:gd name="T63" fmla="*/ 806 h 806"/>
                  <a:gd name="T64" fmla="*/ 1033 w 1612"/>
                  <a:gd name="T65" fmla="*/ 799 h 806"/>
                  <a:gd name="T66" fmla="*/ 1033 w 1612"/>
                  <a:gd name="T67" fmla="*/ 780 h 806"/>
                  <a:gd name="T68" fmla="*/ 1538 w 1612"/>
                  <a:gd name="T69" fmla="*/ 613 h 806"/>
                  <a:gd name="T70" fmla="*/ 1451 w 1612"/>
                  <a:gd name="T71" fmla="*/ 781 h 806"/>
                  <a:gd name="T72" fmla="*/ 1451 w 1612"/>
                  <a:gd name="T73" fmla="*/ 799 h 806"/>
                  <a:gd name="T74" fmla="*/ 1536 w 1612"/>
                  <a:gd name="T75" fmla="*/ 806 h 806"/>
                  <a:gd name="T76" fmla="*/ 1612 w 1612"/>
                  <a:gd name="T77" fmla="*/ 756 h 806"/>
                  <a:gd name="T78" fmla="*/ 1538 w 1612"/>
                  <a:gd name="T79" fmla="*/ 613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2" h="806">
                    <a:moveTo>
                      <a:pt x="1542" y="422"/>
                    </a:moveTo>
                    <a:cubicBezTo>
                      <a:pt x="1542" y="422"/>
                      <a:pt x="1542" y="421"/>
                      <a:pt x="1542" y="421"/>
                    </a:cubicBezTo>
                    <a:cubicBezTo>
                      <a:pt x="1541" y="422"/>
                      <a:pt x="1536" y="437"/>
                      <a:pt x="1508" y="469"/>
                    </a:cubicBezTo>
                    <a:cubicBezTo>
                      <a:pt x="1507" y="470"/>
                      <a:pt x="1506" y="470"/>
                      <a:pt x="1505" y="470"/>
                    </a:cubicBezTo>
                    <a:cubicBezTo>
                      <a:pt x="1485" y="470"/>
                      <a:pt x="1485" y="470"/>
                      <a:pt x="1485" y="470"/>
                    </a:cubicBezTo>
                    <a:cubicBezTo>
                      <a:pt x="1484" y="470"/>
                      <a:pt x="1484" y="470"/>
                      <a:pt x="1483" y="470"/>
                    </a:cubicBezTo>
                    <a:cubicBezTo>
                      <a:pt x="1074" y="253"/>
                      <a:pt x="1074" y="253"/>
                      <a:pt x="1074" y="253"/>
                    </a:cubicBezTo>
                    <a:cubicBezTo>
                      <a:pt x="1073" y="253"/>
                      <a:pt x="1071" y="253"/>
                      <a:pt x="1070" y="253"/>
                    </a:cubicBezTo>
                    <a:cubicBezTo>
                      <a:pt x="979" y="283"/>
                      <a:pt x="980" y="472"/>
                      <a:pt x="949" y="445"/>
                    </a:cubicBezTo>
                    <a:cubicBezTo>
                      <a:pt x="949" y="444"/>
                      <a:pt x="949" y="444"/>
                      <a:pt x="949" y="444"/>
                    </a:cubicBezTo>
                    <a:cubicBezTo>
                      <a:pt x="936" y="410"/>
                      <a:pt x="932" y="354"/>
                      <a:pt x="932" y="315"/>
                    </a:cubicBezTo>
                    <a:cubicBezTo>
                      <a:pt x="932" y="141"/>
                      <a:pt x="1067" y="0"/>
                      <a:pt x="1242" y="0"/>
                    </a:cubicBezTo>
                    <a:cubicBezTo>
                      <a:pt x="1418" y="0"/>
                      <a:pt x="1553" y="141"/>
                      <a:pt x="1553" y="315"/>
                    </a:cubicBezTo>
                    <a:cubicBezTo>
                      <a:pt x="1553" y="353"/>
                      <a:pt x="1554" y="389"/>
                      <a:pt x="1542" y="422"/>
                    </a:cubicBezTo>
                    <a:close/>
                    <a:moveTo>
                      <a:pt x="619" y="317"/>
                    </a:moveTo>
                    <a:cubicBezTo>
                      <a:pt x="619" y="142"/>
                      <a:pt x="485" y="0"/>
                      <a:pt x="310" y="0"/>
                    </a:cubicBezTo>
                    <a:cubicBezTo>
                      <a:pt x="134" y="0"/>
                      <a:pt x="0" y="142"/>
                      <a:pt x="0" y="317"/>
                    </a:cubicBezTo>
                    <a:cubicBezTo>
                      <a:pt x="0" y="356"/>
                      <a:pt x="0" y="393"/>
                      <a:pt x="12" y="427"/>
                    </a:cubicBezTo>
                    <a:cubicBezTo>
                      <a:pt x="12" y="428"/>
                      <a:pt x="12" y="428"/>
                      <a:pt x="12" y="428"/>
                    </a:cubicBezTo>
                    <a:cubicBezTo>
                      <a:pt x="43" y="456"/>
                      <a:pt x="43" y="467"/>
                      <a:pt x="43" y="467"/>
                    </a:cubicBezTo>
                    <a:cubicBezTo>
                      <a:pt x="64" y="469"/>
                      <a:pt x="64" y="469"/>
                      <a:pt x="64" y="469"/>
                    </a:cubicBezTo>
                    <a:cubicBezTo>
                      <a:pt x="64" y="469"/>
                      <a:pt x="47" y="283"/>
                      <a:pt x="140" y="254"/>
                    </a:cubicBezTo>
                    <a:cubicBezTo>
                      <a:pt x="140" y="254"/>
                      <a:pt x="512" y="418"/>
                      <a:pt x="547" y="240"/>
                    </a:cubicBezTo>
                    <a:cubicBezTo>
                      <a:pt x="550" y="462"/>
                      <a:pt x="550" y="473"/>
                      <a:pt x="550" y="473"/>
                    </a:cubicBezTo>
                    <a:cubicBezTo>
                      <a:pt x="573" y="473"/>
                      <a:pt x="573" y="473"/>
                      <a:pt x="573" y="473"/>
                    </a:cubicBezTo>
                    <a:cubicBezTo>
                      <a:pt x="602" y="440"/>
                      <a:pt x="607" y="424"/>
                      <a:pt x="608" y="424"/>
                    </a:cubicBezTo>
                    <a:cubicBezTo>
                      <a:pt x="608" y="424"/>
                      <a:pt x="608" y="424"/>
                      <a:pt x="608" y="424"/>
                    </a:cubicBezTo>
                    <a:cubicBezTo>
                      <a:pt x="620" y="391"/>
                      <a:pt x="619" y="355"/>
                      <a:pt x="619" y="317"/>
                    </a:cubicBezTo>
                    <a:close/>
                    <a:moveTo>
                      <a:pt x="1033" y="780"/>
                    </a:moveTo>
                    <a:cubicBezTo>
                      <a:pt x="1011" y="755"/>
                      <a:pt x="982" y="699"/>
                      <a:pt x="946" y="612"/>
                    </a:cubicBezTo>
                    <a:cubicBezTo>
                      <a:pt x="943" y="671"/>
                      <a:pt x="933" y="750"/>
                      <a:pt x="872" y="756"/>
                    </a:cubicBezTo>
                    <a:cubicBezTo>
                      <a:pt x="899" y="783"/>
                      <a:pt x="925" y="798"/>
                      <a:pt x="949" y="806"/>
                    </a:cubicBezTo>
                    <a:cubicBezTo>
                      <a:pt x="984" y="802"/>
                      <a:pt x="1015" y="800"/>
                      <a:pt x="1033" y="799"/>
                    </a:cubicBezTo>
                    <a:lnTo>
                      <a:pt x="1033" y="780"/>
                    </a:lnTo>
                    <a:close/>
                    <a:moveTo>
                      <a:pt x="1538" y="613"/>
                    </a:moveTo>
                    <a:cubicBezTo>
                      <a:pt x="1502" y="699"/>
                      <a:pt x="1473" y="755"/>
                      <a:pt x="1451" y="781"/>
                    </a:cubicBezTo>
                    <a:cubicBezTo>
                      <a:pt x="1451" y="799"/>
                      <a:pt x="1451" y="799"/>
                      <a:pt x="1451" y="799"/>
                    </a:cubicBezTo>
                    <a:cubicBezTo>
                      <a:pt x="1469" y="800"/>
                      <a:pt x="1501" y="802"/>
                      <a:pt x="1536" y="806"/>
                    </a:cubicBezTo>
                    <a:cubicBezTo>
                      <a:pt x="1560" y="798"/>
                      <a:pt x="1586" y="783"/>
                      <a:pt x="1612" y="756"/>
                    </a:cubicBezTo>
                    <a:cubicBezTo>
                      <a:pt x="1552" y="750"/>
                      <a:pt x="1542" y="672"/>
                      <a:pt x="1538" y="6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grpSp>
        <p:nvGrpSpPr>
          <p:cNvPr id="4" name="Group 3"/>
          <p:cNvGrpSpPr/>
          <p:nvPr/>
        </p:nvGrpSpPr>
        <p:grpSpPr>
          <a:xfrm>
            <a:off x="3284291" y="2613827"/>
            <a:ext cx="937901" cy="907515"/>
            <a:chOff x="4109790" y="1919856"/>
            <a:chExt cx="937901" cy="907515"/>
          </a:xfrm>
        </p:grpSpPr>
        <p:sp>
          <p:nvSpPr>
            <p:cNvPr id="88" name="Oval 87"/>
            <p:cNvSpPr>
              <a:spLocks noChangeAspect="1"/>
            </p:cNvSpPr>
            <p:nvPr/>
          </p:nvSpPr>
          <p:spPr>
            <a:xfrm>
              <a:off x="4109790" y="1919856"/>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89" name="bcgIcons_Target">
              <a:extLst>
                <a:ext uri="{FF2B5EF4-FFF2-40B4-BE49-F238E27FC236}">
                  <a16:creationId xmlns:a16="http://schemas.microsoft.com/office/drawing/2014/main" id="{02916922-81B1-4399-BF36-3FC0C6969C4A}"/>
                </a:ext>
              </a:extLst>
            </p:cNvPr>
            <p:cNvGrpSpPr>
              <a:grpSpLocks noChangeAspect="1"/>
            </p:cNvGrpSpPr>
            <p:nvPr/>
          </p:nvGrpSpPr>
          <p:grpSpPr bwMode="auto">
            <a:xfrm>
              <a:off x="4131947" y="1926406"/>
              <a:ext cx="893587" cy="894415"/>
              <a:chOff x="1682" y="0"/>
              <a:chExt cx="4316" cy="4320"/>
            </a:xfrm>
          </p:grpSpPr>
          <p:sp>
            <p:nvSpPr>
              <p:cNvPr id="90" name="AutoShape 23">
                <a:extLst>
                  <a:ext uri="{FF2B5EF4-FFF2-40B4-BE49-F238E27FC236}">
                    <a16:creationId xmlns:a16="http://schemas.microsoft.com/office/drawing/2014/main" id="{89F4D31F-87B6-4E69-917E-65E2F97982B6}"/>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1" name="Freeform 25">
                <a:extLst>
                  <a:ext uri="{FF2B5EF4-FFF2-40B4-BE49-F238E27FC236}">
                    <a16:creationId xmlns:a16="http://schemas.microsoft.com/office/drawing/2014/main" id="{FA0FD38E-7CA9-4ECE-9013-798D4E40C551}"/>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2" name="Freeform 26">
                <a:extLst>
                  <a:ext uri="{FF2B5EF4-FFF2-40B4-BE49-F238E27FC236}">
                    <a16:creationId xmlns:a16="http://schemas.microsoft.com/office/drawing/2014/main" id="{F562C458-32E3-43E7-BAF7-B4773D3C4A71}"/>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grpSp>
        <p:nvGrpSpPr>
          <p:cNvPr id="14" name="Group 13"/>
          <p:cNvGrpSpPr/>
          <p:nvPr/>
        </p:nvGrpSpPr>
        <p:grpSpPr>
          <a:xfrm>
            <a:off x="9762080" y="4349296"/>
            <a:ext cx="937901" cy="907515"/>
            <a:chOff x="5634741" y="3345335"/>
            <a:chExt cx="937901" cy="907515"/>
          </a:xfrm>
        </p:grpSpPr>
        <p:sp>
          <p:nvSpPr>
            <p:cNvPr id="94" name="Oval 93"/>
            <p:cNvSpPr>
              <a:spLocks noChangeAspect="1"/>
            </p:cNvSpPr>
            <p:nvPr/>
          </p:nvSpPr>
          <p:spPr>
            <a:xfrm>
              <a:off x="5634741" y="3345335"/>
              <a:ext cx="937901" cy="907515"/>
            </a:xfrm>
            <a:prstGeom prst="ellipse">
              <a:avLst/>
            </a:prstGeom>
            <a:solidFill>
              <a:srgbClr val="FFFFFF"/>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463"/>
              </a:pPr>
              <a:endParaRPr lang="en-US" sz="1463" kern="0" dirty="0">
                <a:solidFill>
                  <a:srgbClr val="575757"/>
                </a:solidFill>
              </a:endParaRPr>
            </a:p>
          </p:txBody>
        </p:sp>
        <p:grpSp>
          <p:nvGrpSpPr>
            <p:cNvPr id="95" name="bcgIcons_DataAnalysis">
              <a:extLst>
                <a:ext uri="{FF2B5EF4-FFF2-40B4-BE49-F238E27FC236}">
                  <a16:creationId xmlns:a16="http://schemas.microsoft.com/office/drawing/2014/main" id="{532EEB29-AFBC-44BC-9A91-E078ECDF1079}"/>
                </a:ext>
              </a:extLst>
            </p:cNvPr>
            <p:cNvGrpSpPr>
              <a:grpSpLocks noChangeAspect="1"/>
            </p:cNvGrpSpPr>
            <p:nvPr/>
          </p:nvGrpSpPr>
          <p:grpSpPr bwMode="auto">
            <a:xfrm>
              <a:off x="5749291" y="3444363"/>
              <a:ext cx="708801" cy="709458"/>
              <a:chOff x="1682" y="0"/>
              <a:chExt cx="4316" cy="4320"/>
            </a:xfrm>
          </p:grpSpPr>
          <p:sp>
            <p:nvSpPr>
              <p:cNvPr id="96" name="AutoShape 18">
                <a:extLst>
                  <a:ext uri="{FF2B5EF4-FFF2-40B4-BE49-F238E27FC236}">
                    <a16:creationId xmlns:a16="http://schemas.microsoft.com/office/drawing/2014/main" id="{5381C2E6-C0A5-47CA-9FE1-1E79D784DAF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7" name="Freeform 20">
                <a:extLst>
                  <a:ext uri="{FF2B5EF4-FFF2-40B4-BE49-F238E27FC236}">
                    <a16:creationId xmlns:a16="http://schemas.microsoft.com/office/drawing/2014/main" id="{BDC0EBF9-E3A7-42FA-B170-D0CF0542BA7A}"/>
                  </a:ext>
                </a:extLst>
              </p:cNvPr>
              <p:cNvSpPr>
                <a:spLocks noEditPoints="1"/>
              </p:cNvSpPr>
              <p:nvPr/>
            </p:nvSpPr>
            <p:spPr bwMode="auto">
              <a:xfrm>
                <a:off x="2362" y="1166"/>
                <a:ext cx="2754" cy="1901"/>
              </a:xfrm>
              <a:custGeom>
                <a:avLst/>
                <a:gdLst>
                  <a:gd name="T0" fmla="*/ 1470 w 1470"/>
                  <a:gd name="T1" fmla="*/ 0 h 1014"/>
                  <a:gd name="T2" fmla="*/ 1470 w 1470"/>
                  <a:gd name="T3" fmla="*/ 867 h 1014"/>
                  <a:gd name="T4" fmla="*/ 1383 w 1470"/>
                  <a:gd name="T5" fmla="*/ 867 h 1014"/>
                  <a:gd name="T6" fmla="*/ 1285 w 1470"/>
                  <a:gd name="T7" fmla="*/ 359 h 1014"/>
                  <a:gd name="T8" fmla="*/ 1147 w 1470"/>
                  <a:gd name="T9" fmla="*/ 260 h 1014"/>
                  <a:gd name="T10" fmla="*/ 1237 w 1470"/>
                  <a:gd name="T11" fmla="*/ 188 h 1014"/>
                  <a:gd name="T12" fmla="*/ 1283 w 1470"/>
                  <a:gd name="T13" fmla="*/ 196 h 1014"/>
                  <a:gd name="T14" fmla="*/ 1412 w 1470"/>
                  <a:gd name="T15" fmla="*/ 67 h 1014"/>
                  <a:gd name="T16" fmla="*/ 1410 w 1470"/>
                  <a:gd name="T17" fmla="*/ 48 h 1014"/>
                  <a:gd name="T18" fmla="*/ 1470 w 1470"/>
                  <a:gd name="T19" fmla="*/ 0 h 1014"/>
                  <a:gd name="T20" fmla="*/ 614 w 1470"/>
                  <a:gd name="T21" fmla="*/ 346 h 1014"/>
                  <a:gd name="T22" fmla="*/ 641 w 1470"/>
                  <a:gd name="T23" fmla="*/ 322 h 1014"/>
                  <a:gd name="T24" fmla="*/ 614 w 1470"/>
                  <a:gd name="T25" fmla="*/ 325 h 1014"/>
                  <a:gd name="T26" fmla="*/ 588 w 1470"/>
                  <a:gd name="T27" fmla="*/ 322 h 1014"/>
                  <a:gd name="T28" fmla="*/ 476 w 1470"/>
                  <a:gd name="T29" fmla="*/ 446 h 1014"/>
                  <a:gd name="T30" fmla="*/ 481 w 1470"/>
                  <a:gd name="T31" fmla="*/ 484 h 1014"/>
                  <a:gd name="T32" fmla="*/ 352 w 1470"/>
                  <a:gd name="T33" fmla="*/ 613 h 1014"/>
                  <a:gd name="T34" fmla="*/ 280 w 1470"/>
                  <a:gd name="T35" fmla="*/ 590 h 1014"/>
                  <a:gd name="T36" fmla="*/ 0 w 1470"/>
                  <a:gd name="T37" fmla="*/ 720 h 1014"/>
                  <a:gd name="T38" fmla="*/ 0 w 1470"/>
                  <a:gd name="T39" fmla="*/ 867 h 1014"/>
                  <a:gd name="T40" fmla="*/ 503 w 1470"/>
                  <a:gd name="T41" fmla="*/ 867 h 1014"/>
                  <a:gd name="T42" fmla="*/ 614 w 1470"/>
                  <a:gd name="T43" fmla="*/ 346 h 1014"/>
                  <a:gd name="T44" fmla="*/ 705 w 1470"/>
                  <a:gd name="T45" fmla="*/ 913 h 1014"/>
                  <a:gd name="T46" fmla="*/ 943 w 1470"/>
                  <a:gd name="T47" fmla="*/ 1014 h 1014"/>
                  <a:gd name="T48" fmla="*/ 1144 w 1470"/>
                  <a:gd name="T49" fmla="*/ 946 h 1014"/>
                  <a:gd name="T50" fmla="*/ 1145 w 1470"/>
                  <a:gd name="T51" fmla="*/ 945 h 1014"/>
                  <a:gd name="T52" fmla="*/ 1171 w 1470"/>
                  <a:gd name="T53" fmla="*/ 922 h 1014"/>
                  <a:gd name="T54" fmla="*/ 1199 w 1470"/>
                  <a:gd name="T55" fmla="*/ 892 h 1014"/>
                  <a:gd name="T56" fmla="*/ 1202 w 1470"/>
                  <a:gd name="T57" fmla="*/ 481 h 1014"/>
                  <a:gd name="T58" fmla="*/ 1103 w 1470"/>
                  <a:gd name="T59" fmla="*/ 560 h 1014"/>
                  <a:gd name="T60" fmla="*/ 1106 w 1470"/>
                  <a:gd name="T61" fmla="*/ 590 h 1014"/>
                  <a:gd name="T62" fmla="*/ 947 w 1470"/>
                  <a:gd name="T63" fmla="*/ 749 h 1014"/>
                  <a:gd name="T64" fmla="*/ 789 w 1470"/>
                  <a:gd name="T65" fmla="*/ 595 h 1014"/>
                  <a:gd name="T66" fmla="*/ 652 w 1470"/>
                  <a:gd name="T67" fmla="*/ 529 h 1014"/>
                  <a:gd name="T68" fmla="*/ 705 w 1470"/>
                  <a:gd name="T69" fmla="*/ 913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70" h="1014">
                    <a:moveTo>
                      <a:pt x="1470" y="0"/>
                    </a:moveTo>
                    <a:cubicBezTo>
                      <a:pt x="1470" y="867"/>
                      <a:pt x="1470" y="867"/>
                      <a:pt x="1470" y="867"/>
                    </a:cubicBezTo>
                    <a:cubicBezTo>
                      <a:pt x="1383" y="867"/>
                      <a:pt x="1383" y="867"/>
                      <a:pt x="1383" y="867"/>
                    </a:cubicBezTo>
                    <a:cubicBezTo>
                      <a:pt x="1452" y="697"/>
                      <a:pt x="1417" y="497"/>
                      <a:pt x="1285" y="359"/>
                    </a:cubicBezTo>
                    <a:cubicBezTo>
                      <a:pt x="1245" y="317"/>
                      <a:pt x="1198" y="284"/>
                      <a:pt x="1147" y="260"/>
                    </a:cubicBezTo>
                    <a:cubicBezTo>
                      <a:pt x="1237" y="188"/>
                      <a:pt x="1237" y="188"/>
                      <a:pt x="1237" y="188"/>
                    </a:cubicBezTo>
                    <a:cubicBezTo>
                      <a:pt x="1252" y="193"/>
                      <a:pt x="1267" y="196"/>
                      <a:pt x="1283" y="196"/>
                    </a:cubicBezTo>
                    <a:cubicBezTo>
                      <a:pt x="1354" y="196"/>
                      <a:pt x="1412" y="138"/>
                      <a:pt x="1412" y="67"/>
                    </a:cubicBezTo>
                    <a:cubicBezTo>
                      <a:pt x="1412" y="61"/>
                      <a:pt x="1411" y="54"/>
                      <a:pt x="1410" y="48"/>
                    </a:cubicBezTo>
                    <a:lnTo>
                      <a:pt x="1470" y="0"/>
                    </a:lnTo>
                    <a:close/>
                    <a:moveTo>
                      <a:pt x="614" y="346"/>
                    </a:moveTo>
                    <a:cubicBezTo>
                      <a:pt x="623" y="338"/>
                      <a:pt x="632" y="329"/>
                      <a:pt x="641" y="322"/>
                    </a:cubicBezTo>
                    <a:cubicBezTo>
                      <a:pt x="632" y="324"/>
                      <a:pt x="623" y="325"/>
                      <a:pt x="614" y="325"/>
                    </a:cubicBezTo>
                    <a:cubicBezTo>
                      <a:pt x="605" y="325"/>
                      <a:pt x="597" y="324"/>
                      <a:pt x="588" y="322"/>
                    </a:cubicBezTo>
                    <a:cubicBezTo>
                      <a:pt x="476" y="446"/>
                      <a:pt x="476" y="446"/>
                      <a:pt x="476" y="446"/>
                    </a:cubicBezTo>
                    <a:cubicBezTo>
                      <a:pt x="479" y="458"/>
                      <a:pt x="481" y="471"/>
                      <a:pt x="481" y="484"/>
                    </a:cubicBezTo>
                    <a:cubicBezTo>
                      <a:pt x="481" y="555"/>
                      <a:pt x="423" y="613"/>
                      <a:pt x="352" y="613"/>
                    </a:cubicBezTo>
                    <a:cubicBezTo>
                      <a:pt x="326" y="613"/>
                      <a:pt x="301" y="605"/>
                      <a:pt x="280" y="590"/>
                    </a:cubicBezTo>
                    <a:cubicBezTo>
                      <a:pt x="0" y="720"/>
                      <a:pt x="0" y="720"/>
                      <a:pt x="0" y="720"/>
                    </a:cubicBezTo>
                    <a:cubicBezTo>
                      <a:pt x="0" y="867"/>
                      <a:pt x="0" y="867"/>
                      <a:pt x="0" y="867"/>
                    </a:cubicBezTo>
                    <a:cubicBezTo>
                      <a:pt x="503" y="867"/>
                      <a:pt x="503" y="867"/>
                      <a:pt x="503" y="867"/>
                    </a:cubicBezTo>
                    <a:cubicBezTo>
                      <a:pt x="433" y="692"/>
                      <a:pt x="471" y="484"/>
                      <a:pt x="614" y="346"/>
                    </a:cubicBezTo>
                    <a:close/>
                    <a:moveTo>
                      <a:pt x="705" y="913"/>
                    </a:moveTo>
                    <a:cubicBezTo>
                      <a:pt x="768" y="978"/>
                      <a:pt x="852" y="1014"/>
                      <a:pt x="943" y="1014"/>
                    </a:cubicBezTo>
                    <a:cubicBezTo>
                      <a:pt x="1015" y="1014"/>
                      <a:pt x="1087" y="990"/>
                      <a:pt x="1144" y="946"/>
                    </a:cubicBezTo>
                    <a:cubicBezTo>
                      <a:pt x="1145" y="945"/>
                      <a:pt x="1145" y="945"/>
                      <a:pt x="1145" y="945"/>
                    </a:cubicBezTo>
                    <a:cubicBezTo>
                      <a:pt x="1153" y="940"/>
                      <a:pt x="1161" y="932"/>
                      <a:pt x="1171" y="922"/>
                    </a:cubicBezTo>
                    <a:cubicBezTo>
                      <a:pt x="1181" y="913"/>
                      <a:pt x="1191" y="903"/>
                      <a:pt x="1199" y="892"/>
                    </a:cubicBezTo>
                    <a:cubicBezTo>
                      <a:pt x="1297" y="772"/>
                      <a:pt x="1296" y="601"/>
                      <a:pt x="1202" y="481"/>
                    </a:cubicBezTo>
                    <a:cubicBezTo>
                      <a:pt x="1103" y="560"/>
                      <a:pt x="1103" y="560"/>
                      <a:pt x="1103" y="560"/>
                    </a:cubicBezTo>
                    <a:cubicBezTo>
                      <a:pt x="1105" y="570"/>
                      <a:pt x="1106" y="580"/>
                      <a:pt x="1106" y="590"/>
                    </a:cubicBezTo>
                    <a:cubicBezTo>
                      <a:pt x="1106" y="677"/>
                      <a:pt x="1035" y="749"/>
                      <a:pt x="947" y="749"/>
                    </a:cubicBezTo>
                    <a:cubicBezTo>
                      <a:pt x="862" y="749"/>
                      <a:pt x="792" y="680"/>
                      <a:pt x="789" y="595"/>
                    </a:cubicBezTo>
                    <a:cubicBezTo>
                      <a:pt x="652" y="529"/>
                      <a:pt x="652" y="529"/>
                      <a:pt x="652" y="529"/>
                    </a:cubicBezTo>
                    <a:cubicBezTo>
                      <a:pt x="587" y="652"/>
                      <a:pt x="604" y="808"/>
                      <a:pt x="705" y="91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sp>
            <p:nvSpPr>
              <p:cNvPr id="98" name="Freeform 21">
                <a:extLst>
                  <a:ext uri="{FF2B5EF4-FFF2-40B4-BE49-F238E27FC236}">
                    <a16:creationId xmlns:a16="http://schemas.microsoft.com/office/drawing/2014/main" id="{F9EEAED7-4FFF-4707-B9E4-EC0C5FA18C53}"/>
                  </a:ext>
                </a:extLst>
              </p:cNvPr>
              <p:cNvSpPr>
                <a:spLocks noEditPoints="1"/>
              </p:cNvSpPr>
              <p:nvPr/>
            </p:nvSpPr>
            <p:spPr bwMode="auto">
              <a:xfrm>
                <a:off x="2197" y="692"/>
                <a:ext cx="3535" cy="3405"/>
              </a:xfrm>
              <a:custGeom>
                <a:avLst/>
                <a:gdLst>
                  <a:gd name="T0" fmla="*/ 1272 w 1887"/>
                  <a:gd name="T1" fmla="*/ 1297 h 1816"/>
                  <a:gd name="T2" fmla="*/ 1389 w 1887"/>
                  <a:gd name="T3" fmla="*/ 1401 h 1816"/>
                  <a:gd name="T4" fmla="*/ 1481 w 1887"/>
                  <a:gd name="T5" fmla="*/ 1296 h 1816"/>
                  <a:gd name="T6" fmla="*/ 1340 w 1887"/>
                  <a:gd name="T7" fmla="*/ 644 h 1816"/>
                  <a:gd name="T8" fmla="*/ 722 w 1887"/>
                  <a:gd name="T9" fmla="*/ 1239 h 1816"/>
                  <a:gd name="T10" fmla="*/ 760 w 1887"/>
                  <a:gd name="T11" fmla="*/ 1202 h 1816"/>
                  <a:gd name="T12" fmla="*/ 1302 w 1887"/>
                  <a:gd name="T13" fmla="*/ 681 h 1816"/>
                  <a:gd name="T14" fmla="*/ 1291 w 1887"/>
                  <a:gd name="T15" fmla="*/ 1212 h 1816"/>
                  <a:gd name="T16" fmla="*/ 1752 w 1887"/>
                  <a:gd name="T17" fmla="*/ 1816 h 1816"/>
                  <a:gd name="T18" fmla="*/ 1405 w 1887"/>
                  <a:gd name="T19" fmla="*/ 1477 h 1816"/>
                  <a:gd name="T20" fmla="*/ 1528 w 1887"/>
                  <a:gd name="T21" fmla="*/ 1327 h 1816"/>
                  <a:gd name="T22" fmla="*/ 1559 w 1887"/>
                  <a:gd name="T23" fmla="*/ 1327 h 1816"/>
                  <a:gd name="T24" fmla="*/ 1878 w 1887"/>
                  <a:gd name="T25" fmla="*/ 1714 h 1816"/>
                  <a:gd name="T26" fmla="*/ 1752 w 1887"/>
                  <a:gd name="T27" fmla="*/ 1816 h 1816"/>
                  <a:gd name="T28" fmla="*/ 1746 w 1887"/>
                  <a:gd name="T29" fmla="*/ 1770 h 1816"/>
                  <a:gd name="T30" fmla="*/ 1837 w 1887"/>
                  <a:gd name="T31" fmla="*/ 1700 h 1816"/>
                  <a:gd name="T32" fmla="*/ 1543 w 1887"/>
                  <a:gd name="T33" fmla="*/ 1374 h 1816"/>
                  <a:gd name="T34" fmla="*/ 1624 w 1887"/>
                  <a:gd name="T35" fmla="*/ 0 h 1816"/>
                  <a:gd name="T36" fmla="*/ 0 w 1887"/>
                  <a:gd name="T37" fmla="*/ 22 h 1816"/>
                  <a:gd name="T38" fmla="*/ 22 w 1887"/>
                  <a:gd name="T39" fmla="*/ 1208 h 1816"/>
                  <a:gd name="T40" fmla="*/ 611 w 1887"/>
                  <a:gd name="T41" fmla="*/ 1164 h 1816"/>
                  <a:gd name="T42" fmla="*/ 44 w 1887"/>
                  <a:gd name="T43" fmla="*/ 945 h 1816"/>
                  <a:gd name="T44" fmla="*/ 440 w 1887"/>
                  <a:gd name="T45" fmla="*/ 830 h 1816"/>
                  <a:gd name="T46" fmla="*/ 517 w 1887"/>
                  <a:gd name="T47" fmla="*/ 685 h 1816"/>
                  <a:gd name="T48" fmla="*/ 702 w 1887"/>
                  <a:gd name="T49" fmla="*/ 542 h 1816"/>
                  <a:gd name="T50" fmla="*/ 806 w 1887"/>
                  <a:gd name="T51" fmla="*/ 523 h 1816"/>
                  <a:gd name="T52" fmla="*/ 793 w 1887"/>
                  <a:gd name="T53" fmla="*/ 468 h 1816"/>
                  <a:gd name="T54" fmla="*/ 702 w 1887"/>
                  <a:gd name="T55" fmla="*/ 356 h 1816"/>
                  <a:gd name="T56" fmla="*/ 625 w 1887"/>
                  <a:gd name="T57" fmla="*/ 501 h 1816"/>
                  <a:gd name="T58" fmla="*/ 440 w 1887"/>
                  <a:gd name="T59" fmla="*/ 644 h 1816"/>
                  <a:gd name="T60" fmla="*/ 349 w 1887"/>
                  <a:gd name="T61" fmla="*/ 755 h 1816"/>
                  <a:gd name="T62" fmla="*/ 44 w 1887"/>
                  <a:gd name="T63" fmla="*/ 44 h 1816"/>
                  <a:gd name="T64" fmla="*/ 1602 w 1887"/>
                  <a:gd name="T65" fmla="*/ 104 h 1816"/>
                  <a:gd name="T66" fmla="*/ 1371 w 1887"/>
                  <a:gd name="T67" fmla="*/ 227 h 1816"/>
                  <a:gd name="T68" fmla="*/ 1286 w 1887"/>
                  <a:gd name="T69" fmla="*/ 359 h 1816"/>
                  <a:gd name="T70" fmla="*/ 1189 w 1887"/>
                  <a:gd name="T71" fmla="*/ 494 h 1816"/>
                  <a:gd name="T72" fmla="*/ 1371 w 1887"/>
                  <a:gd name="T73" fmla="*/ 413 h 1816"/>
                  <a:gd name="T74" fmla="*/ 1455 w 1887"/>
                  <a:gd name="T75" fmla="*/ 280 h 1816"/>
                  <a:gd name="T76" fmla="*/ 1602 w 1887"/>
                  <a:gd name="T77" fmla="*/ 1164 h 1816"/>
                  <a:gd name="T78" fmla="*/ 1438 w 1887"/>
                  <a:gd name="T79" fmla="*/ 1185 h 1816"/>
                  <a:gd name="T80" fmla="*/ 1624 w 1887"/>
                  <a:gd name="T81" fmla="*/ 1208 h 1816"/>
                  <a:gd name="T82" fmla="*/ 1646 w 1887"/>
                  <a:gd name="T83" fmla="*/ 22 h 1816"/>
                  <a:gd name="T84" fmla="*/ 702 w 1887"/>
                  <a:gd name="T85" fmla="*/ 400 h 1816"/>
                  <a:gd name="T86" fmla="*/ 702 w 1887"/>
                  <a:gd name="T87" fmla="*/ 498 h 1816"/>
                  <a:gd name="T88" fmla="*/ 702 w 1887"/>
                  <a:gd name="T89" fmla="*/ 400 h 1816"/>
                  <a:gd name="T90" fmla="*/ 489 w 1887"/>
                  <a:gd name="T91" fmla="*/ 737 h 1816"/>
                  <a:gd name="T92" fmla="*/ 391 w 1887"/>
                  <a:gd name="T93" fmla="*/ 737 h 1816"/>
                  <a:gd name="T94" fmla="*/ 1371 w 1887"/>
                  <a:gd name="T95" fmla="*/ 369 h 1816"/>
                  <a:gd name="T96" fmla="*/ 1371 w 1887"/>
                  <a:gd name="T97" fmla="*/ 271 h 1816"/>
                  <a:gd name="T98" fmla="*/ 1371 w 1887"/>
                  <a:gd name="T99" fmla="*/ 369 h 1816"/>
                  <a:gd name="T100" fmla="*/ 1111 w 1887"/>
                  <a:gd name="T101" fmla="*/ 750 h 1816"/>
                  <a:gd name="T102" fmla="*/ 942 w 1887"/>
                  <a:gd name="T103" fmla="*/ 769 h 1816"/>
                  <a:gd name="T104" fmla="*/ 766 w 1887"/>
                  <a:gd name="T105" fmla="*/ 742 h 1816"/>
                  <a:gd name="T106" fmla="*/ 916 w 1887"/>
                  <a:gd name="T107" fmla="*/ 843 h 1816"/>
                  <a:gd name="T108" fmla="*/ 1155 w 1887"/>
                  <a:gd name="T109" fmla="*/ 843 h 1816"/>
                  <a:gd name="T110" fmla="*/ 1258 w 1887"/>
                  <a:gd name="T111" fmla="*/ 698 h 1816"/>
                  <a:gd name="T112" fmla="*/ 1035 w 1887"/>
                  <a:gd name="T113" fmla="*/ 915 h 1816"/>
                  <a:gd name="T114" fmla="*/ 1035 w 1887"/>
                  <a:gd name="T115" fmla="*/ 771 h 1816"/>
                  <a:gd name="T116" fmla="*/ 1035 w 1887"/>
                  <a:gd name="T117" fmla="*/ 915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87" h="1816">
                    <a:moveTo>
                      <a:pt x="722" y="1239"/>
                    </a:moveTo>
                    <a:cubicBezTo>
                      <a:pt x="869" y="1392"/>
                      <a:pt x="1103" y="1412"/>
                      <a:pt x="1272" y="1297"/>
                    </a:cubicBezTo>
                    <a:cubicBezTo>
                      <a:pt x="1272" y="1297"/>
                      <a:pt x="1272" y="1297"/>
                      <a:pt x="1372" y="1400"/>
                    </a:cubicBezTo>
                    <a:cubicBezTo>
                      <a:pt x="1377" y="1405"/>
                      <a:pt x="1384" y="1405"/>
                      <a:pt x="1389" y="1401"/>
                    </a:cubicBezTo>
                    <a:cubicBezTo>
                      <a:pt x="1389" y="1401"/>
                      <a:pt x="1389" y="1401"/>
                      <a:pt x="1480" y="1313"/>
                    </a:cubicBezTo>
                    <a:cubicBezTo>
                      <a:pt x="1485" y="1308"/>
                      <a:pt x="1485" y="1301"/>
                      <a:pt x="1481" y="1296"/>
                    </a:cubicBezTo>
                    <a:cubicBezTo>
                      <a:pt x="1481" y="1296"/>
                      <a:pt x="1481" y="1296"/>
                      <a:pt x="1380" y="1191"/>
                    </a:cubicBezTo>
                    <a:cubicBezTo>
                      <a:pt x="1498" y="1026"/>
                      <a:pt x="1485" y="795"/>
                      <a:pt x="1340" y="644"/>
                    </a:cubicBezTo>
                    <a:cubicBezTo>
                      <a:pt x="1176" y="474"/>
                      <a:pt x="904" y="468"/>
                      <a:pt x="734" y="632"/>
                    </a:cubicBezTo>
                    <a:cubicBezTo>
                      <a:pt x="563" y="797"/>
                      <a:pt x="558" y="1068"/>
                      <a:pt x="722" y="1239"/>
                    </a:cubicBezTo>
                    <a:close/>
                    <a:moveTo>
                      <a:pt x="1260" y="1239"/>
                    </a:moveTo>
                    <a:cubicBezTo>
                      <a:pt x="1110" y="1355"/>
                      <a:pt x="894" y="1342"/>
                      <a:pt x="760" y="1202"/>
                    </a:cubicBezTo>
                    <a:cubicBezTo>
                      <a:pt x="617" y="1053"/>
                      <a:pt x="621" y="814"/>
                      <a:pt x="771" y="671"/>
                    </a:cubicBezTo>
                    <a:cubicBezTo>
                      <a:pt x="920" y="527"/>
                      <a:pt x="1158" y="532"/>
                      <a:pt x="1302" y="681"/>
                    </a:cubicBezTo>
                    <a:cubicBezTo>
                      <a:pt x="1434" y="819"/>
                      <a:pt x="1440" y="1033"/>
                      <a:pt x="1323" y="1178"/>
                    </a:cubicBezTo>
                    <a:cubicBezTo>
                      <a:pt x="1313" y="1190"/>
                      <a:pt x="1302" y="1202"/>
                      <a:pt x="1291" y="1212"/>
                    </a:cubicBezTo>
                    <a:cubicBezTo>
                      <a:pt x="1281" y="1222"/>
                      <a:pt x="1271" y="1231"/>
                      <a:pt x="1260" y="1239"/>
                    </a:cubicBezTo>
                    <a:close/>
                    <a:moveTo>
                      <a:pt x="1752" y="1816"/>
                    </a:moveTo>
                    <a:cubicBezTo>
                      <a:pt x="1737" y="1816"/>
                      <a:pt x="1724" y="1811"/>
                      <a:pt x="1714" y="1801"/>
                    </a:cubicBezTo>
                    <a:cubicBezTo>
                      <a:pt x="1405" y="1477"/>
                      <a:pt x="1405" y="1477"/>
                      <a:pt x="1405" y="1477"/>
                    </a:cubicBezTo>
                    <a:cubicBezTo>
                      <a:pt x="1396" y="1468"/>
                      <a:pt x="1396" y="1454"/>
                      <a:pt x="1405" y="1446"/>
                    </a:cubicBezTo>
                    <a:cubicBezTo>
                      <a:pt x="1528" y="1327"/>
                      <a:pt x="1528" y="1327"/>
                      <a:pt x="1528" y="1327"/>
                    </a:cubicBezTo>
                    <a:cubicBezTo>
                      <a:pt x="1533" y="1323"/>
                      <a:pt x="1538" y="1321"/>
                      <a:pt x="1544" y="1321"/>
                    </a:cubicBezTo>
                    <a:cubicBezTo>
                      <a:pt x="1550" y="1321"/>
                      <a:pt x="1555" y="1323"/>
                      <a:pt x="1559" y="1327"/>
                    </a:cubicBezTo>
                    <a:cubicBezTo>
                      <a:pt x="1870" y="1652"/>
                      <a:pt x="1870" y="1652"/>
                      <a:pt x="1870" y="1652"/>
                    </a:cubicBezTo>
                    <a:cubicBezTo>
                      <a:pt x="1884" y="1667"/>
                      <a:pt x="1887" y="1689"/>
                      <a:pt x="1878" y="1714"/>
                    </a:cubicBezTo>
                    <a:cubicBezTo>
                      <a:pt x="1871" y="1735"/>
                      <a:pt x="1857" y="1756"/>
                      <a:pt x="1838" y="1774"/>
                    </a:cubicBezTo>
                    <a:cubicBezTo>
                      <a:pt x="1810" y="1801"/>
                      <a:pt x="1778" y="1816"/>
                      <a:pt x="1752" y="1816"/>
                    </a:cubicBezTo>
                    <a:close/>
                    <a:moveTo>
                      <a:pt x="1451" y="1462"/>
                    </a:moveTo>
                    <a:cubicBezTo>
                      <a:pt x="1746" y="1770"/>
                      <a:pt x="1746" y="1770"/>
                      <a:pt x="1746" y="1770"/>
                    </a:cubicBezTo>
                    <a:cubicBezTo>
                      <a:pt x="1750" y="1774"/>
                      <a:pt x="1777" y="1772"/>
                      <a:pt x="1808" y="1743"/>
                    </a:cubicBezTo>
                    <a:cubicBezTo>
                      <a:pt x="1821" y="1729"/>
                      <a:pt x="1832" y="1714"/>
                      <a:pt x="1837" y="1700"/>
                    </a:cubicBezTo>
                    <a:cubicBezTo>
                      <a:pt x="1840" y="1690"/>
                      <a:pt x="1839" y="1684"/>
                      <a:pt x="1838" y="1682"/>
                    </a:cubicBezTo>
                    <a:cubicBezTo>
                      <a:pt x="1543" y="1374"/>
                      <a:pt x="1543" y="1374"/>
                      <a:pt x="1543" y="1374"/>
                    </a:cubicBezTo>
                    <a:lnTo>
                      <a:pt x="1451" y="1462"/>
                    </a:lnTo>
                    <a:close/>
                    <a:moveTo>
                      <a:pt x="1624" y="0"/>
                    </a:moveTo>
                    <a:cubicBezTo>
                      <a:pt x="22" y="0"/>
                      <a:pt x="22" y="0"/>
                      <a:pt x="22" y="0"/>
                    </a:cubicBezTo>
                    <a:cubicBezTo>
                      <a:pt x="10" y="0"/>
                      <a:pt x="0" y="10"/>
                      <a:pt x="0" y="22"/>
                    </a:cubicBezTo>
                    <a:cubicBezTo>
                      <a:pt x="0" y="1186"/>
                      <a:pt x="0" y="1186"/>
                      <a:pt x="0" y="1186"/>
                    </a:cubicBezTo>
                    <a:cubicBezTo>
                      <a:pt x="0" y="1198"/>
                      <a:pt x="10" y="1208"/>
                      <a:pt x="22" y="1208"/>
                    </a:cubicBezTo>
                    <a:cubicBezTo>
                      <a:pt x="638" y="1208"/>
                      <a:pt x="638" y="1208"/>
                      <a:pt x="638" y="1208"/>
                    </a:cubicBezTo>
                    <a:cubicBezTo>
                      <a:pt x="628" y="1193"/>
                      <a:pt x="619" y="1179"/>
                      <a:pt x="611" y="1164"/>
                    </a:cubicBezTo>
                    <a:cubicBezTo>
                      <a:pt x="44" y="1164"/>
                      <a:pt x="44" y="1164"/>
                      <a:pt x="44" y="1164"/>
                    </a:cubicBezTo>
                    <a:cubicBezTo>
                      <a:pt x="44" y="945"/>
                      <a:pt x="44" y="945"/>
                      <a:pt x="44" y="945"/>
                    </a:cubicBezTo>
                    <a:cubicBezTo>
                      <a:pt x="368" y="795"/>
                      <a:pt x="368" y="795"/>
                      <a:pt x="368" y="795"/>
                    </a:cubicBezTo>
                    <a:cubicBezTo>
                      <a:pt x="385" y="816"/>
                      <a:pt x="411" y="830"/>
                      <a:pt x="440" y="830"/>
                    </a:cubicBezTo>
                    <a:cubicBezTo>
                      <a:pt x="492" y="830"/>
                      <a:pt x="533" y="788"/>
                      <a:pt x="533" y="737"/>
                    </a:cubicBezTo>
                    <a:cubicBezTo>
                      <a:pt x="533" y="718"/>
                      <a:pt x="527" y="700"/>
                      <a:pt x="517" y="685"/>
                    </a:cubicBezTo>
                    <a:cubicBezTo>
                      <a:pt x="658" y="530"/>
                      <a:pt x="658" y="530"/>
                      <a:pt x="658" y="530"/>
                    </a:cubicBezTo>
                    <a:cubicBezTo>
                      <a:pt x="671" y="538"/>
                      <a:pt x="686" y="542"/>
                      <a:pt x="702" y="542"/>
                    </a:cubicBezTo>
                    <a:cubicBezTo>
                      <a:pt x="731" y="542"/>
                      <a:pt x="757" y="528"/>
                      <a:pt x="774" y="508"/>
                    </a:cubicBezTo>
                    <a:cubicBezTo>
                      <a:pt x="806" y="523"/>
                      <a:pt x="806" y="523"/>
                      <a:pt x="806" y="523"/>
                    </a:cubicBezTo>
                    <a:cubicBezTo>
                      <a:pt x="823" y="514"/>
                      <a:pt x="840" y="506"/>
                      <a:pt x="858" y="499"/>
                    </a:cubicBezTo>
                    <a:cubicBezTo>
                      <a:pt x="793" y="468"/>
                      <a:pt x="793" y="468"/>
                      <a:pt x="793" y="468"/>
                    </a:cubicBezTo>
                    <a:cubicBezTo>
                      <a:pt x="794" y="462"/>
                      <a:pt x="795" y="455"/>
                      <a:pt x="795" y="449"/>
                    </a:cubicBezTo>
                    <a:cubicBezTo>
                      <a:pt x="795" y="397"/>
                      <a:pt x="753" y="356"/>
                      <a:pt x="702" y="356"/>
                    </a:cubicBezTo>
                    <a:cubicBezTo>
                      <a:pt x="651" y="356"/>
                      <a:pt x="609" y="397"/>
                      <a:pt x="609" y="449"/>
                    </a:cubicBezTo>
                    <a:cubicBezTo>
                      <a:pt x="609" y="468"/>
                      <a:pt x="615" y="486"/>
                      <a:pt x="625" y="501"/>
                    </a:cubicBezTo>
                    <a:cubicBezTo>
                      <a:pt x="485" y="655"/>
                      <a:pt x="485" y="655"/>
                      <a:pt x="485" y="655"/>
                    </a:cubicBezTo>
                    <a:cubicBezTo>
                      <a:pt x="471" y="648"/>
                      <a:pt x="456" y="644"/>
                      <a:pt x="440" y="644"/>
                    </a:cubicBezTo>
                    <a:cubicBezTo>
                      <a:pt x="389" y="644"/>
                      <a:pt x="347" y="686"/>
                      <a:pt x="347" y="737"/>
                    </a:cubicBezTo>
                    <a:cubicBezTo>
                      <a:pt x="347" y="743"/>
                      <a:pt x="348" y="749"/>
                      <a:pt x="349" y="755"/>
                    </a:cubicBezTo>
                    <a:cubicBezTo>
                      <a:pt x="44" y="896"/>
                      <a:pt x="44" y="896"/>
                      <a:pt x="44" y="896"/>
                    </a:cubicBezTo>
                    <a:cubicBezTo>
                      <a:pt x="44" y="44"/>
                      <a:pt x="44" y="44"/>
                      <a:pt x="44" y="44"/>
                    </a:cubicBezTo>
                    <a:cubicBezTo>
                      <a:pt x="1602" y="44"/>
                      <a:pt x="1602" y="44"/>
                      <a:pt x="1602" y="44"/>
                    </a:cubicBezTo>
                    <a:cubicBezTo>
                      <a:pt x="1602" y="104"/>
                      <a:pt x="1602" y="104"/>
                      <a:pt x="1602" y="104"/>
                    </a:cubicBezTo>
                    <a:cubicBezTo>
                      <a:pt x="1427" y="246"/>
                      <a:pt x="1427" y="246"/>
                      <a:pt x="1427" y="246"/>
                    </a:cubicBezTo>
                    <a:cubicBezTo>
                      <a:pt x="1411" y="234"/>
                      <a:pt x="1392" y="227"/>
                      <a:pt x="1371" y="227"/>
                    </a:cubicBezTo>
                    <a:cubicBezTo>
                      <a:pt x="1319" y="227"/>
                      <a:pt x="1278" y="269"/>
                      <a:pt x="1278" y="320"/>
                    </a:cubicBezTo>
                    <a:cubicBezTo>
                      <a:pt x="1278" y="334"/>
                      <a:pt x="1281" y="347"/>
                      <a:pt x="1286" y="359"/>
                    </a:cubicBezTo>
                    <a:cubicBezTo>
                      <a:pt x="1137" y="479"/>
                      <a:pt x="1137" y="479"/>
                      <a:pt x="1137" y="479"/>
                    </a:cubicBezTo>
                    <a:cubicBezTo>
                      <a:pt x="1155" y="483"/>
                      <a:pt x="1172" y="488"/>
                      <a:pt x="1189" y="494"/>
                    </a:cubicBezTo>
                    <a:cubicBezTo>
                      <a:pt x="1314" y="394"/>
                      <a:pt x="1314" y="394"/>
                      <a:pt x="1314" y="394"/>
                    </a:cubicBezTo>
                    <a:cubicBezTo>
                      <a:pt x="1330" y="406"/>
                      <a:pt x="1349" y="413"/>
                      <a:pt x="1371" y="413"/>
                    </a:cubicBezTo>
                    <a:cubicBezTo>
                      <a:pt x="1422" y="413"/>
                      <a:pt x="1464" y="371"/>
                      <a:pt x="1464" y="320"/>
                    </a:cubicBezTo>
                    <a:cubicBezTo>
                      <a:pt x="1464" y="306"/>
                      <a:pt x="1460" y="292"/>
                      <a:pt x="1455" y="280"/>
                    </a:cubicBezTo>
                    <a:cubicBezTo>
                      <a:pt x="1602" y="160"/>
                      <a:pt x="1602" y="160"/>
                      <a:pt x="1602" y="160"/>
                    </a:cubicBezTo>
                    <a:cubicBezTo>
                      <a:pt x="1602" y="1164"/>
                      <a:pt x="1602" y="1164"/>
                      <a:pt x="1602" y="1164"/>
                    </a:cubicBezTo>
                    <a:cubicBezTo>
                      <a:pt x="1450" y="1164"/>
                      <a:pt x="1450" y="1164"/>
                      <a:pt x="1450" y="1164"/>
                    </a:cubicBezTo>
                    <a:cubicBezTo>
                      <a:pt x="1446" y="1171"/>
                      <a:pt x="1442" y="1178"/>
                      <a:pt x="1438" y="1185"/>
                    </a:cubicBezTo>
                    <a:cubicBezTo>
                      <a:pt x="1460" y="1208"/>
                      <a:pt x="1460" y="1208"/>
                      <a:pt x="1460" y="1208"/>
                    </a:cubicBezTo>
                    <a:cubicBezTo>
                      <a:pt x="1624" y="1208"/>
                      <a:pt x="1624" y="1208"/>
                      <a:pt x="1624" y="1208"/>
                    </a:cubicBezTo>
                    <a:cubicBezTo>
                      <a:pt x="1636" y="1208"/>
                      <a:pt x="1646" y="1198"/>
                      <a:pt x="1646" y="1186"/>
                    </a:cubicBezTo>
                    <a:cubicBezTo>
                      <a:pt x="1646" y="22"/>
                      <a:pt x="1646" y="22"/>
                      <a:pt x="1646" y="22"/>
                    </a:cubicBezTo>
                    <a:cubicBezTo>
                      <a:pt x="1646" y="10"/>
                      <a:pt x="1636" y="0"/>
                      <a:pt x="1624" y="0"/>
                    </a:cubicBezTo>
                    <a:close/>
                    <a:moveTo>
                      <a:pt x="702" y="400"/>
                    </a:moveTo>
                    <a:cubicBezTo>
                      <a:pt x="729" y="400"/>
                      <a:pt x="751" y="422"/>
                      <a:pt x="751" y="449"/>
                    </a:cubicBezTo>
                    <a:cubicBezTo>
                      <a:pt x="751" y="476"/>
                      <a:pt x="729" y="498"/>
                      <a:pt x="702" y="498"/>
                    </a:cubicBezTo>
                    <a:cubicBezTo>
                      <a:pt x="675" y="498"/>
                      <a:pt x="653" y="476"/>
                      <a:pt x="653" y="449"/>
                    </a:cubicBezTo>
                    <a:cubicBezTo>
                      <a:pt x="653" y="422"/>
                      <a:pt x="675" y="400"/>
                      <a:pt x="702" y="400"/>
                    </a:cubicBezTo>
                    <a:close/>
                    <a:moveTo>
                      <a:pt x="440" y="688"/>
                    </a:moveTo>
                    <a:cubicBezTo>
                      <a:pt x="467" y="688"/>
                      <a:pt x="489" y="710"/>
                      <a:pt x="489" y="737"/>
                    </a:cubicBezTo>
                    <a:cubicBezTo>
                      <a:pt x="489" y="764"/>
                      <a:pt x="467" y="786"/>
                      <a:pt x="440" y="786"/>
                    </a:cubicBezTo>
                    <a:cubicBezTo>
                      <a:pt x="413" y="786"/>
                      <a:pt x="391" y="764"/>
                      <a:pt x="391" y="737"/>
                    </a:cubicBezTo>
                    <a:cubicBezTo>
                      <a:pt x="391" y="710"/>
                      <a:pt x="413" y="688"/>
                      <a:pt x="440" y="688"/>
                    </a:cubicBezTo>
                    <a:close/>
                    <a:moveTo>
                      <a:pt x="1371" y="369"/>
                    </a:moveTo>
                    <a:cubicBezTo>
                      <a:pt x="1344" y="369"/>
                      <a:pt x="1322" y="347"/>
                      <a:pt x="1322" y="320"/>
                    </a:cubicBezTo>
                    <a:cubicBezTo>
                      <a:pt x="1322" y="293"/>
                      <a:pt x="1344" y="271"/>
                      <a:pt x="1371" y="271"/>
                    </a:cubicBezTo>
                    <a:cubicBezTo>
                      <a:pt x="1398" y="271"/>
                      <a:pt x="1420" y="293"/>
                      <a:pt x="1420" y="320"/>
                    </a:cubicBezTo>
                    <a:cubicBezTo>
                      <a:pt x="1420" y="347"/>
                      <a:pt x="1398" y="369"/>
                      <a:pt x="1371" y="369"/>
                    </a:cubicBezTo>
                    <a:close/>
                    <a:moveTo>
                      <a:pt x="1217" y="665"/>
                    </a:moveTo>
                    <a:cubicBezTo>
                      <a:pt x="1111" y="750"/>
                      <a:pt x="1111" y="750"/>
                      <a:pt x="1111" y="750"/>
                    </a:cubicBezTo>
                    <a:cubicBezTo>
                      <a:pt x="1090" y="733"/>
                      <a:pt x="1064" y="723"/>
                      <a:pt x="1035" y="723"/>
                    </a:cubicBezTo>
                    <a:cubicBezTo>
                      <a:pt x="997" y="723"/>
                      <a:pt x="963" y="741"/>
                      <a:pt x="942" y="769"/>
                    </a:cubicBezTo>
                    <a:cubicBezTo>
                      <a:pt x="801" y="701"/>
                      <a:pt x="801" y="701"/>
                      <a:pt x="801" y="701"/>
                    </a:cubicBezTo>
                    <a:cubicBezTo>
                      <a:pt x="788" y="714"/>
                      <a:pt x="776" y="727"/>
                      <a:pt x="766" y="742"/>
                    </a:cubicBezTo>
                    <a:cubicBezTo>
                      <a:pt x="919" y="816"/>
                      <a:pt x="919" y="816"/>
                      <a:pt x="919" y="816"/>
                    </a:cubicBezTo>
                    <a:cubicBezTo>
                      <a:pt x="917" y="824"/>
                      <a:pt x="916" y="834"/>
                      <a:pt x="916" y="843"/>
                    </a:cubicBezTo>
                    <a:cubicBezTo>
                      <a:pt x="916" y="909"/>
                      <a:pt x="969" y="963"/>
                      <a:pt x="1035" y="963"/>
                    </a:cubicBezTo>
                    <a:cubicBezTo>
                      <a:pt x="1102" y="963"/>
                      <a:pt x="1155" y="909"/>
                      <a:pt x="1155" y="843"/>
                    </a:cubicBezTo>
                    <a:cubicBezTo>
                      <a:pt x="1155" y="824"/>
                      <a:pt x="1151" y="806"/>
                      <a:pt x="1143" y="790"/>
                    </a:cubicBezTo>
                    <a:cubicBezTo>
                      <a:pt x="1258" y="698"/>
                      <a:pt x="1258" y="698"/>
                      <a:pt x="1258" y="698"/>
                    </a:cubicBezTo>
                    <a:cubicBezTo>
                      <a:pt x="1245" y="686"/>
                      <a:pt x="1231" y="675"/>
                      <a:pt x="1217" y="665"/>
                    </a:cubicBezTo>
                    <a:close/>
                    <a:moveTo>
                      <a:pt x="1035" y="915"/>
                    </a:moveTo>
                    <a:cubicBezTo>
                      <a:pt x="996" y="915"/>
                      <a:pt x="964" y="883"/>
                      <a:pt x="964" y="843"/>
                    </a:cubicBezTo>
                    <a:cubicBezTo>
                      <a:pt x="964" y="803"/>
                      <a:pt x="996" y="771"/>
                      <a:pt x="1035" y="771"/>
                    </a:cubicBezTo>
                    <a:cubicBezTo>
                      <a:pt x="1075" y="771"/>
                      <a:pt x="1107" y="803"/>
                      <a:pt x="1107" y="843"/>
                    </a:cubicBezTo>
                    <a:cubicBezTo>
                      <a:pt x="1107" y="883"/>
                      <a:pt x="1075" y="915"/>
                      <a:pt x="1035" y="91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pt-BR" dirty="0"/>
              </a:p>
            </p:txBody>
          </p:sp>
        </p:grpSp>
      </p:grpSp>
      <p:sp>
        <p:nvSpPr>
          <p:cNvPr id="56" name="Title 2"/>
          <p:cNvSpPr>
            <a:spLocks noGrp="1"/>
          </p:cNvSpPr>
          <p:nvPr>
            <p:ph type="title"/>
          </p:nvPr>
        </p:nvSpPr>
        <p:spPr>
          <a:xfrm>
            <a:off x="1777592" y="6180087"/>
            <a:ext cx="8593727" cy="249299"/>
          </a:xfrm>
        </p:spPr>
        <p:txBody>
          <a:bodyPr>
            <a:normAutofit fontScale="90000"/>
          </a:bodyPr>
          <a:lstStyle/>
          <a:p>
            <a:r>
              <a:rPr lang="pt-BR" sz="1800" dirty="0">
                <a:solidFill>
                  <a:schemeClr val="tx2">
                    <a:lumMod val="75000"/>
                  </a:schemeClr>
                </a:solidFill>
              </a:rPr>
              <a:t>Para cada um dos elementos, o guia oferece ferramentas, explicações e exemplos.</a:t>
            </a:r>
          </a:p>
        </p:txBody>
      </p:sp>
    </p:spTree>
    <p:extLst>
      <p:ext uri="{BB962C8B-B14F-4D97-AF65-F5344CB8AC3E}">
        <p14:creationId xmlns:p14="http://schemas.microsoft.com/office/powerpoint/2010/main" val="2960460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C26D1D18-B0F2-4581-AA8D-44B2A5418B1D}"/>
              </a:ext>
            </a:extLst>
          </p:cNvPr>
          <p:cNvSpPr/>
          <p:nvPr/>
        </p:nvSpPr>
        <p:spPr>
          <a:xfrm>
            <a:off x="431321" y="1524972"/>
            <a:ext cx="11329358" cy="5714128"/>
          </a:xfrm>
          <a:prstGeom prst="rect">
            <a:avLst/>
          </a:prstGeom>
        </p:spPr>
        <p:txBody>
          <a:bodyPr wrap="square">
            <a:spAutoFit/>
          </a:bodyPr>
          <a:lstStyle/>
          <a:p>
            <a:pPr marL="342900" indent="-342900" algn="just">
              <a:lnSpc>
                <a:spcPct val="107000"/>
              </a:lnSpc>
              <a:spcAft>
                <a:spcPts val="800"/>
              </a:spcAft>
              <a:buClr>
                <a:srgbClr val="F5960B"/>
              </a:buClr>
              <a:buFont typeface="Wingdings" panose="05000000000000000000" pitchFamily="2" charset="2"/>
              <a:buChar char="ü"/>
            </a:pPr>
            <a:r>
              <a:rPr lang="pt-BR" sz="2000" dirty="0"/>
              <a:t>Objetivos:</a:t>
            </a:r>
          </a:p>
          <a:p>
            <a:pPr marL="800100" lvl="1" indent="-342900" algn="just">
              <a:lnSpc>
                <a:spcPct val="107000"/>
              </a:lnSpc>
              <a:spcAft>
                <a:spcPts val="800"/>
              </a:spcAft>
              <a:buClr>
                <a:srgbClr val="F5960B"/>
              </a:buClr>
              <a:buFont typeface="Arial" panose="020B0604020202020204" pitchFamily="34" charset="0"/>
              <a:buChar char="•"/>
            </a:pPr>
            <a:r>
              <a:rPr lang="pt-BR" sz="2000" dirty="0"/>
              <a:t>Promover </a:t>
            </a:r>
            <a:r>
              <a:rPr lang="pt-BR" sz="2000" b="1" dirty="0"/>
              <a:t>maior efetividade aos recursos públicos investidos</a:t>
            </a:r>
            <a:r>
              <a:rPr lang="pt-BR" sz="2000" dirty="0"/>
              <a:t>, excluindo gastos ineficientes e aprimorando a qualidade dos bens e dos serviços públicos de interesse da sociedade. </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Sensibilizar os gestores </a:t>
            </a:r>
            <a:r>
              <a:rPr lang="pt-BR" sz="2000" dirty="0">
                <a:latin typeface="Calibri" panose="020F0502020204030204" pitchFamily="34" charset="0"/>
                <a:ea typeface="Calibri" panose="020F0502020204030204" pitchFamily="34" charset="0"/>
                <a:cs typeface="Calibri" panose="020F0502020204030204" pitchFamily="34" charset="0"/>
              </a:rPr>
              <a:t>para a importância do monitoramento e da avaliação de políticas públicas.</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Fornecer referências </a:t>
            </a:r>
            <a:r>
              <a:rPr lang="pt-BR" sz="2000" dirty="0">
                <a:latin typeface="Calibri" panose="020F0502020204030204" pitchFamily="34" charset="0"/>
                <a:ea typeface="Calibri" panose="020F0502020204030204" pitchFamily="34" charset="0"/>
                <a:cs typeface="Calibri" panose="020F0502020204030204" pitchFamily="34" charset="0"/>
              </a:rPr>
              <a:t>para realização de avaliações de políticas públicas. </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Disseminar</a:t>
            </a:r>
            <a:r>
              <a:rPr lang="pt-BR" sz="2000" dirty="0">
                <a:latin typeface="Calibri" panose="020F0502020204030204" pitchFamily="34" charset="0"/>
                <a:ea typeface="Calibri" panose="020F0502020204030204" pitchFamily="34" charset="0"/>
                <a:cs typeface="Calibri" panose="020F0502020204030204" pitchFamily="34" charset="0"/>
              </a:rPr>
              <a:t> abordagens e conceitos de </a:t>
            </a:r>
            <a:r>
              <a:rPr lang="pt-BR" sz="2000" b="1" dirty="0">
                <a:latin typeface="Calibri" panose="020F0502020204030204" pitchFamily="34" charset="0"/>
                <a:ea typeface="Calibri" panose="020F0502020204030204" pitchFamily="34" charset="0"/>
                <a:cs typeface="Calibri" panose="020F0502020204030204" pitchFamily="34" charset="0"/>
              </a:rPr>
              <a:t>boas práticas</a:t>
            </a:r>
            <a:r>
              <a:rPr lang="pt-BR" sz="2000" dirty="0">
                <a:latin typeface="Calibri" panose="020F0502020204030204" pitchFamily="34" charset="0"/>
                <a:ea typeface="Calibri" panose="020F0502020204030204" pitchFamily="34" charset="0"/>
                <a:cs typeface="Calibri" panose="020F0502020204030204" pitchFamily="34" charset="0"/>
              </a:rPr>
              <a:t>.</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ea typeface="Calibri" panose="020F0502020204030204" pitchFamily="34" charset="0"/>
                <a:cs typeface="Calibri" panose="020F0502020204030204" pitchFamily="34" charset="0"/>
              </a:rPr>
              <a:t>Padronizar e uniformizar </a:t>
            </a:r>
            <a:r>
              <a:rPr lang="pt-BR" sz="2000" dirty="0">
                <a:latin typeface="Calibri" panose="020F0502020204030204" pitchFamily="34" charset="0"/>
                <a:ea typeface="Calibri" panose="020F0502020204030204" pitchFamily="34" charset="0"/>
                <a:cs typeface="Calibri" panose="020F0502020204030204" pitchFamily="34" charset="0"/>
              </a:rPr>
              <a:t>as rotinas de monitoramento e avaliação.</a:t>
            </a:r>
          </a:p>
          <a:p>
            <a:pPr marL="800100" lvl="1" indent="-342900" algn="just">
              <a:lnSpc>
                <a:spcPct val="107000"/>
              </a:lnSpc>
              <a:spcAft>
                <a:spcPts val="800"/>
              </a:spcAft>
              <a:buClr>
                <a:srgbClr val="F5960B"/>
              </a:buClr>
              <a:buFont typeface="Arial" panose="020B0604020202020204" pitchFamily="34" charset="0"/>
              <a:buChar char="•"/>
            </a:pPr>
            <a:r>
              <a:rPr lang="pt-BR" sz="2000" b="1" dirty="0">
                <a:latin typeface="Calibri" panose="020F0502020204030204" pitchFamily="34" charset="0"/>
                <a:cs typeface="Calibri" panose="020F0502020204030204" pitchFamily="34" charset="0"/>
              </a:rPr>
              <a:t>Influenciar</a:t>
            </a:r>
            <a:r>
              <a:rPr lang="pt-BR" sz="2000" dirty="0"/>
              <a:t> as demais esferas governamentais e instituições da sociedade civil.</a:t>
            </a:r>
            <a:endParaRPr lang="pt-BR" sz="2000"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5960B"/>
              </a:buClr>
              <a:buFont typeface="Wingdings" panose="05000000000000000000" pitchFamily="2" charset="2"/>
              <a:buChar char="ü"/>
            </a:pPr>
            <a:endParaRPr lang="pt-BR" sz="1050"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5960B"/>
              </a:buClr>
              <a:buFont typeface="Wingdings" panose="05000000000000000000" pitchFamily="2" charset="2"/>
              <a:buChar char="ü"/>
            </a:pPr>
            <a:r>
              <a:rPr lang="pt-BR" sz="2000" dirty="0">
                <a:latin typeface="Calibri" panose="020F0502020204030204" pitchFamily="34" charset="0"/>
                <a:ea typeface="Calibri" panose="020F0502020204030204" pitchFamily="34" charset="0"/>
                <a:cs typeface="Calibri" panose="020F0502020204030204" pitchFamily="34" charset="0"/>
              </a:rPr>
              <a:t>A análise </a:t>
            </a:r>
            <a:r>
              <a:rPr lang="pt-BR" sz="2000" i="1" dirty="0" err="1">
                <a:latin typeface="Calibri" panose="020F0502020204030204" pitchFamily="34" charset="0"/>
                <a:ea typeface="Calibri" panose="020F0502020204030204" pitchFamily="34" charset="0"/>
                <a:cs typeface="Calibri" panose="020F0502020204030204" pitchFamily="34" charset="0"/>
              </a:rPr>
              <a:t>ex</a:t>
            </a:r>
            <a:r>
              <a:rPr lang="pt-BR" sz="2000" i="1" dirty="0">
                <a:latin typeface="Calibri" panose="020F0502020204030204" pitchFamily="34" charset="0"/>
                <a:ea typeface="Calibri" panose="020F0502020204030204" pitchFamily="34" charset="0"/>
                <a:cs typeface="Calibri" panose="020F0502020204030204" pitchFamily="34" charset="0"/>
              </a:rPr>
              <a:t> post </a:t>
            </a:r>
            <a:r>
              <a:rPr lang="pt-BR" sz="2000" dirty="0">
                <a:latin typeface="Calibri" panose="020F0502020204030204" pitchFamily="34" charset="0"/>
                <a:ea typeface="Calibri" panose="020F0502020204030204" pitchFamily="34" charset="0"/>
                <a:cs typeface="Calibri" panose="020F0502020204030204" pitchFamily="34" charset="0"/>
              </a:rPr>
              <a:t>é instrumento importante para </a:t>
            </a:r>
            <a:r>
              <a:rPr lang="pt-BR" sz="2000" b="1" dirty="0">
                <a:latin typeface="Calibri" panose="020F0502020204030204" pitchFamily="34" charset="0"/>
                <a:ea typeface="Calibri" panose="020F0502020204030204" pitchFamily="34" charset="0"/>
                <a:cs typeface="Calibri" panose="020F0502020204030204" pitchFamily="34" charset="0"/>
              </a:rPr>
              <a:t>subsidiar a tomada de decisão ao longo da execução </a:t>
            </a:r>
            <a:r>
              <a:rPr lang="pt-BR" sz="2000" dirty="0">
                <a:latin typeface="Calibri" panose="020F0502020204030204" pitchFamily="34" charset="0"/>
                <a:ea typeface="Calibri" panose="020F0502020204030204" pitchFamily="34" charset="0"/>
                <a:cs typeface="Calibri" panose="020F0502020204030204" pitchFamily="34" charset="0"/>
              </a:rPr>
              <a:t>da política pública. </a:t>
            </a:r>
          </a:p>
          <a:p>
            <a:pPr lvl="1" algn="just">
              <a:lnSpc>
                <a:spcPct val="107000"/>
              </a:lnSpc>
              <a:spcAft>
                <a:spcPts val="800"/>
              </a:spcAft>
              <a:buClr>
                <a:srgbClr val="F5960B"/>
              </a:buClr>
            </a:pPr>
            <a:r>
              <a:rPr lang="pt-BR" sz="2000" dirty="0">
                <a:latin typeface="Calibri" panose="020F0502020204030204" pitchFamily="34" charset="0"/>
                <a:ea typeface="Calibri" panose="020F0502020204030204" pitchFamily="34" charset="0"/>
                <a:cs typeface="Calibri" panose="020F0502020204030204" pitchFamily="34" charset="0"/>
              </a:rPr>
              <a:t>O que aprimorar, como fazer, como melhorar a alocação de recursos entre as diferentes políticas setoriais.</a:t>
            </a:r>
          </a:p>
          <a:p>
            <a:pPr marL="342900" indent="-342900" algn="just">
              <a:lnSpc>
                <a:spcPct val="107000"/>
              </a:lnSpc>
              <a:spcAft>
                <a:spcPts val="800"/>
              </a:spcAft>
              <a:buClr>
                <a:srgbClr val="F5960B"/>
              </a:buClr>
              <a:buFont typeface="Wingdings" panose="05000000000000000000" pitchFamily="2" charset="2"/>
              <a:buChar char="ü"/>
            </a:pPr>
            <a:endParaRPr lang="pt-BR" sz="2000" dirty="0">
              <a:latin typeface="Calibri" panose="020F0502020204030204" pitchFamily="34" charset="0"/>
              <a:ea typeface="Calibri" panose="020F0502020204030204" pitchFamily="34" charset="0"/>
              <a:cs typeface="Calibri" panose="020F0502020204030204" pitchFamily="34" charset="0"/>
            </a:endParaRPr>
          </a:p>
        </p:txBody>
      </p:sp>
      <p:sp>
        <p:nvSpPr>
          <p:cNvPr id="5" name="Título 4">
            <a:extLst>
              <a:ext uri="{FF2B5EF4-FFF2-40B4-BE49-F238E27FC236}">
                <a16:creationId xmlns:a16="http://schemas.microsoft.com/office/drawing/2014/main" id="{A1EFAF08-1F52-478F-9D54-20DE49D76779}"/>
              </a:ext>
            </a:extLst>
          </p:cNvPr>
          <p:cNvSpPr>
            <a:spLocks noGrp="1"/>
          </p:cNvSpPr>
          <p:nvPr>
            <p:ph type="title"/>
          </p:nvPr>
        </p:nvSpPr>
        <p:spPr>
          <a:xfrm>
            <a:off x="0" y="819326"/>
            <a:ext cx="10515600" cy="705646"/>
          </a:xfrm>
        </p:spPr>
        <p:txBody>
          <a:bodyPr vert="horz" lIns="91440" tIns="45720" rIns="91440" bIns="45720" rtlCol="0" anchor="ctr">
            <a:normAutofit/>
          </a:bodyPr>
          <a:lstStyle/>
          <a:p>
            <a:r>
              <a:rPr lang="pt-BR" sz="2800" dirty="0">
                <a:latin typeface="Open Sans"/>
                <a:cs typeface="Calibri" panose="020F0502020204030204" pitchFamily="34" charset="0"/>
              </a:rPr>
              <a:t>Guia </a:t>
            </a:r>
            <a:r>
              <a:rPr lang="pt-BR" sz="2800" dirty="0" err="1">
                <a:latin typeface="Open Sans"/>
                <a:cs typeface="Calibri" panose="020F0502020204030204" pitchFamily="34" charset="0"/>
              </a:rPr>
              <a:t>ex-post</a:t>
            </a:r>
            <a:endParaRPr lang="pt-BR" sz="2800" dirty="0">
              <a:latin typeface="Open Sans"/>
              <a:cs typeface="Calibri" panose="020F0502020204030204" pitchFamily="34" charset="0"/>
            </a:endParaRPr>
          </a:p>
        </p:txBody>
      </p:sp>
    </p:spTree>
    <p:extLst>
      <p:ext uri="{BB962C8B-B14F-4D97-AF65-F5344CB8AC3E}">
        <p14:creationId xmlns:p14="http://schemas.microsoft.com/office/powerpoint/2010/main" val="726960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4" name="Diagrama 3">
            <a:extLst>
              <a:ext uri="{FF2B5EF4-FFF2-40B4-BE49-F238E27FC236}">
                <a16:creationId xmlns:a16="http://schemas.microsoft.com/office/drawing/2014/main" id="{E14CC73D-1A11-41E3-BC56-5693533C3B9E}"/>
              </a:ext>
            </a:extLst>
          </p:cNvPr>
          <p:cNvGraphicFramePr/>
          <p:nvPr>
            <p:extLst/>
          </p:nvPr>
        </p:nvGraphicFramePr>
        <p:xfrm>
          <a:off x="295939" y="1031359"/>
          <a:ext cx="11601894" cy="58266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31744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182750" y="1291891"/>
            <a:ext cx="10756280" cy="5378084"/>
          </a:xfrm>
        </p:spPr>
        <p:txBody>
          <a:bodyPr>
            <a:noAutofit/>
          </a:bodyPr>
          <a:lstStyle/>
          <a:p>
            <a:pPr marL="0" indent="0" algn="just" eaLnBrk="0" fontAlgn="base" hangingPunct="0">
              <a:spcBef>
                <a:spcPct val="0"/>
              </a:spcBef>
              <a:spcAft>
                <a:spcPct val="0"/>
              </a:spcAft>
              <a:buClr>
                <a:schemeClr val="accent1"/>
              </a:buClr>
              <a:buNone/>
              <a:defRPr/>
            </a:pPr>
            <a:endParaRPr lang="pt-BR" altLang="pt-BR" sz="2100" dirty="0">
              <a:solidFill>
                <a:srgbClr val="000000"/>
              </a:solidFill>
              <a:cs typeface="Arial" charset="0"/>
            </a:endParaRPr>
          </a:p>
          <a:p>
            <a:pPr marL="0" indent="0" algn="just" eaLnBrk="0" fontAlgn="base" hangingPunct="0">
              <a:spcBef>
                <a:spcPct val="0"/>
              </a:spcBef>
              <a:spcAft>
                <a:spcPct val="0"/>
              </a:spcAft>
              <a:buClr>
                <a:schemeClr val="accent1"/>
              </a:buClr>
              <a:buFont typeface="Wingdings" pitchFamily="2" charset="2"/>
              <a:buChar char="ü"/>
              <a:defRPr/>
            </a:pPr>
            <a:r>
              <a:rPr lang="pt-BR" altLang="pt-BR" sz="2100" b="1" dirty="0">
                <a:solidFill>
                  <a:srgbClr val="000000"/>
                </a:solidFill>
                <a:cs typeface="Arial" charset="0"/>
              </a:rPr>
              <a:t> Processo sistemático de análise baseado em evidências:</a:t>
            </a: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b="1" dirty="0">
              <a:solidFill>
                <a:srgbClr val="000000"/>
              </a:solidFill>
              <a:cs typeface="Arial" charset="0"/>
            </a:endParaRPr>
          </a:p>
          <a:p>
            <a:pPr marL="400050" lvl="1" indent="0" algn="just" eaLnBrk="0" fontAlgn="base" hangingPunct="0">
              <a:lnSpc>
                <a:spcPct val="100000"/>
              </a:lnSpc>
              <a:spcBef>
                <a:spcPct val="0"/>
              </a:spcBef>
              <a:spcAft>
                <a:spcPct val="0"/>
              </a:spcAft>
              <a:buClr>
                <a:schemeClr val="accent1"/>
              </a:buClr>
              <a:buNone/>
              <a:defRPr/>
            </a:pPr>
            <a:r>
              <a:rPr lang="pt-BR" altLang="pt-BR" sz="2000" dirty="0">
                <a:solidFill>
                  <a:srgbClr val="000000"/>
                </a:solidFill>
                <a:cs typeface="Arial" charset="0"/>
              </a:rPr>
              <a:t>Busca avaliar, a partir da definição de um </a:t>
            </a:r>
            <a:r>
              <a:rPr lang="pt-BR" altLang="pt-BR" sz="2000" b="1" dirty="0">
                <a:solidFill>
                  <a:srgbClr val="0070C0"/>
                </a:solidFill>
                <a:cs typeface="Arial" charset="0"/>
              </a:rPr>
              <a:t>problema regulatório</a:t>
            </a:r>
            <a:r>
              <a:rPr lang="pt-BR" altLang="pt-BR" sz="2000" dirty="0">
                <a:solidFill>
                  <a:srgbClr val="000000"/>
                </a:solidFill>
                <a:cs typeface="Arial" charset="0"/>
              </a:rPr>
              <a:t>, os possíveis </a:t>
            </a:r>
            <a:r>
              <a:rPr lang="pt-BR" altLang="pt-BR" sz="2000" b="1" dirty="0">
                <a:solidFill>
                  <a:srgbClr val="0070C0"/>
                </a:solidFill>
                <a:cs typeface="Arial" charset="0"/>
              </a:rPr>
              <a:t>impactos</a:t>
            </a:r>
            <a:r>
              <a:rPr lang="pt-BR" altLang="pt-BR" sz="2000" dirty="0">
                <a:solidFill>
                  <a:srgbClr val="000000"/>
                </a:solidFill>
                <a:cs typeface="Arial" charset="0"/>
              </a:rPr>
              <a:t> das alternativas disponíveis ao alcance dos objetivos pretendidos para orientar e subsidiar a </a:t>
            </a:r>
            <a:r>
              <a:rPr lang="pt-BR" altLang="pt-BR" sz="2000" b="1" dirty="0">
                <a:solidFill>
                  <a:srgbClr val="0070C0"/>
                </a:solidFill>
                <a:cs typeface="Arial" charset="0"/>
              </a:rPr>
              <a:t>tomada de decisão</a:t>
            </a:r>
            <a:r>
              <a:rPr lang="pt-BR" altLang="pt-BR" sz="2000" b="1" dirty="0">
                <a:solidFill>
                  <a:srgbClr val="000000"/>
                </a:solidFill>
                <a:cs typeface="Arial" charset="0"/>
              </a:rPr>
              <a:t> (Diretrizes Gerais AIR).</a:t>
            </a:r>
          </a:p>
          <a:p>
            <a:pPr marL="400050" lvl="1" indent="0" algn="just" eaLnBrk="0" fontAlgn="base" hangingPunct="0">
              <a:spcBef>
                <a:spcPct val="0"/>
              </a:spcBef>
              <a:spcAft>
                <a:spcPct val="0"/>
              </a:spcAft>
              <a:buClr>
                <a:schemeClr val="accent1"/>
              </a:buClr>
              <a:buNone/>
              <a:defRPr/>
            </a:pPr>
            <a:endParaRPr lang="pt-BR" altLang="pt-BR" sz="1700" b="1" dirty="0">
              <a:solidFill>
                <a:srgbClr val="000000"/>
              </a:solidFill>
              <a:cs typeface="Arial" charset="0"/>
            </a:endParaRPr>
          </a:p>
          <a:p>
            <a:pPr marL="400050" lvl="1" indent="0" algn="just" eaLnBrk="0" fontAlgn="base" hangingPunct="0">
              <a:spcBef>
                <a:spcPct val="0"/>
              </a:spcBef>
              <a:spcAft>
                <a:spcPct val="0"/>
              </a:spcAft>
              <a:buClr>
                <a:schemeClr val="accent1"/>
              </a:buClr>
              <a:buNone/>
              <a:defRPr/>
            </a:pPr>
            <a:endParaRPr lang="pt-BR" altLang="pt-BR" b="1" dirty="0">
              <a:solidFill>
                <a:srgbClr val="000000"/>
              </a:solidFill>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solidFill>
                  <a:srgbClr val="000000"/>
                </a:solidFill>
                <a:cs typeface="Arial" charset="0"/>
              </a:rPr>
              <a:t> </a:t>
            </a:r>
            <a:r>
              <a:rPr lang="pt-BR" altLang="pt-BR" sz="2400" dirty="0">
                <a:cs typeface="Arial" charset="0"/>
              </a:rPr>
              <a:t>Estrutura a tomada de decisão baseada em evidências;</a:t>
            </a:r>
          </a:p>
          <a:p>
            <a:pPr marL="637200" lvl="2" indent="0" algn="just" eaLnBrk="0" fontAlgn="base" hangingPunct="0">
              <a:spcBef>
                <a:spcPct val="0"/>
              </a:spcBef>
              <a:spcAft>
                <a:spcPct val="0"/>
              </a:spcAft>
              <a:buClr>
                <a:schemeClr val="accent1"/>
              </a:buClr>
              <a:buNone/>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cs typeface="Arial" charset="0"/>
              </a:rPr>
              <a:t> Não regular pode ser a melhor opção;</a:t>
            </a:r>
          </a:p>
          <a:p>
            <a:pPr marL="637200" lvl="2" indent="0" algn="just" eaLnBrk="0" fontAlgn="base" hangingPunct="0">
              <a:spcBef>
                <a:spcPct val="0"/>
              </a:spcBef>
              <a:spcAft>
                <a:spcPct val="0"/>
              </a:spcAft>
              <a:buClr>
                <a:schemeClr val="accent1"/>
              </a:buClr>
              <a:buFont typeface="Wingdings" pitchFamily="2" charset="2"/>
              <a:buChar char="ü"/>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cs typeface="Arial" charset="0"/>
              </a:rPr>
              <a:t> Deve fundamentar e orientar o processo decisório e não apenas justificá-lo;</a:t>
            </a:r>
          </a:p>
          <a:p>
            <a:pPr marL="637200" lvl="2" indent="0" algn="just" eaLnBrk="0" fontAlgn="base" hangingPunct="0">
              <a:spcBef>
                <a:spcPct val="0"/>
              </a:spcBef>
              <a:spcAft>
                <a:spcPct val="0"/>
              </a:spcAft>
              <a:buClr>
                <a:schemeClr val="accent1"/>
              </a:buClr>
              <a:buFont typeface="Wingdings" pitchFamily="2" charset="2"/>
              <a:buChar char="ü"/>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dirty="0">
                <a:cs typeface="Arial" charset="0"/>
              </a:rPr>
              <a:t> Informa e qualifica a decisão regulatória, mas NÃO a substitui;</a:t>
            </a:r>
          </a:p>
          <a:p>
            <a:pPr marL="637200" lvl="2" indent="0" algn="just" eaLnBrk="0" fontAlgn="base" hangingPunct="0">
              <a:spcBef>
                <a:spcPct val="0"/>
              </a:spcBef>
              <a:spcAft>
                <a:spcPct val="0"/>
              </a:spcAft>
              <a:buClr>
                <a:schemeClr val="accent1"/>
              </a:buClr>
              <a:buFont typeface="Wingdings" pitchFamily="2" charset="2"/>
              <a:buChar char="ü"/>
              <a:defRPr/>
            </a:pPr>
            <a:endParaRPr lang="pt-BR" altLang="pt-BR" sz="2400" dirty="0">
              <a:cs typeface="Arial" charset="0"/>
            </a:endParaRPr>
          </a:p>
          <a:p>
            <a:pPr marL="637200" lvl="2" indent="0" algn="just" eaLnBrk="0" fontAlgn="base" hangingPunct="0">
              <a:spcBef>
                <a:spcPct val="0"/>
              </a:spcBef>
              <a:spcAft>
                <a:spcPct val="0"/>
              </a:spcAft>
              <a:buClr>
                <a:schemeClr val="accent1"/>
              </a:buClr>
              <a:buFont typeface="Wingdings" pitchFamily="2" charset="2"/>
              <a:buChar char="ü"/>
              <a:defRPr/>
            </a:pPr>
            <a:r>
              <a:rPr lang="pt-BR" altLang="pt-BR" sz="2400" u="sng" dirty="0">
                <a:cs typeface="Arial" charset="0"/>
              </a:rPr>
              <a:t> Não</a:t>
            </a:r>
            <a:r>
              <a:rPr lang="pt-BR" altLang="pt-BR" sz="2400" dirty="0">
                <a:cs typeface="Arial" charset="0"/>
              </a:rPr>
              <a:t> é apenas mais um requisito formal do processo administrativo</a:t>
            </a:r>
            <a:r>
              <a:rPr lang="pt-BR" altLang="pt-BR" sz="2400" b="1" dirty="0">
                <a:cs typeface="Arial" charset="0"/>
              </a:rPr>
              <a:t>.</a:t>
            </a: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FF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sz="2100" dirty="0"/>
          </a:p>
        </p:txBody>
      </p:sp>
      <p:sp>
        <p:nvSpPr>
          <p:cNvPr id="6" name="Seta: para Baixo 5">
            <a:extLst>
              <a:ext uri="{FF2B5EF4-FFF2-40B4-BE49-F238E27FC236}">
                <a16:creationId xmlns:a16="http://schemas.microsoft.com/office/drawing/2014/main" id="{B00C5F4D-58D0-4940-A9C6-8B54D52083AE}"/>
              </a:ext>
            </a:extLst>
          </p:cNvPr>
          <p:cNvSpPr/>
          <p:nvPr/>
        </p:nvSpPr>
        <p:spPr>
          <a:xfrm>
            <a:off x="10820400" y="2400300"/>
            <a:ext cx="1270000" cy="4178300"/>
          </a:xfrm>
          <a:prstGeom prst="downArrow">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vert="vert" rtlCol="0" anchor="ctr"/>
          <a:lstStyle/>
          <a:p>
            <a:pPr algn="ctr"/>
            <a:r>
              <a:rPr lang="pt-BR" dirty="0">
                <a:solidFill>
                  <a:schemeClr val="tx1"/>
                </a:solidFill>
              </a:rPr>
              <a:t>GANHO ESTÁ NO PROCESSO</a:t>
            </a:r>
          </a:p>
        </p:txBody>
      </p:sp>
      <p:sp>
        <p:nvSpPr>
          <p:cNvPr id="4" name="Retângulo 3">
            <a:extLst>
              <a:ext uri="{FF2B5EF4-FFF2-40B4-BE49-F238E27FC236}">
                <a16:creationId xmlns:a16="http://schemas.microsoft.com/office/drawing/2014/main" id="{666AB33E-E292-E64C-94E2-43B85F63564F}"/>
              </a:ext>
            </a:extLst>
          </p:cNvPr>
          <p:cNvSpPr/>
          <p:nvPr/>
        </p:nvSpPr>
        <p:spPr>
          <a:xfrm>
            <a:off x="91122" y="744311"/>
            <a:ext cx="8424936" cy="707886"/>
          </a:xfrm>
          <a:prstGeom prst="rect">
            <a:avLst/>
          </a:prstGeom>
          <a:noFill/>
        </p:spPr>
        <p:txBody>
          <a:bodyPr wrap="square" anchor="ctr">
            <a:spAutoFit/>
          </a:bodyPr>
          <a:lstStyle/>
          <a:p>
            <a:pPr algn="ctr"/>
            <a:endParaRPr lang="pt-BR" sz="1400" dirty="0">
              <a:solidFill>
                <a:prstClr val="black"/>
              </a:solidFill>
              <a:latin typeface="Open Sans"/>
              <a:cs typeface="Arial" panose="020B0604020202020204" pitchFamily="34" charset="0"/>
            </a:endParaRPr>
          </a:p>
          <a:p>
            <a:r>
              <a:rPr lang="pt-BR" sz="2600" dirty="0">
                <a:solidFill>
                  <a:prstClr val="black"/>
                </a:solidFill>
                <a:latin typeface="Open Sans"/>
                <a:cs typeface="Arial" panose="020B0604020202020204" pitchFamily="34" charset="0"/>
              </a:rPr>
              <a:t>Análise de Impacto Regulatório</a:t>
            </a:r>
          </a:p>
        </p:txBody>
      </p:sp>
    </p:spTree>
    <p:extLst>
      <p:ext uri="{BB962C8B-B14F-4D97-AF65-F5344CB8AC3E}">
        <p14:creationId xmlns:p14="http://schemas.microsoft.com/office/powerpoint/2010/main" val="40318509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054ED200-B651-443E-A1D2-F6F8B105537E}"/>
              </a:ext>
            </a:extLst>
          </p:cNvPr>
          <p:cNvSpPr/>
          <p:nvPr/>
        </p:nvSpPr>
        <p:spPr>
          <a:xfrm>
            <a:off x="420096" y="1495916"/>
            <a:ext cx="11016167" cy="4752648"/>
          </a:xfrm>
          <a:prstGeom prst="rect">
            <a:avLst/>
          </a:prstGeom>
        </p:spPr>
        <p:txBody>
          <a:bodyPr wrap="square">
            <a:spAutoFit/>
          </a:bodyPr>
          <a:lstStyle/>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Os Guias serão utilizados como referencial para as avaliações a serem realizadas pelo CMAG e pelo CMAS.</a:t>
            </a: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A CGU, </a:t>
            </a:r>
            <a:r>
              <a:rPr lang="pt-BR" u="sng" dirty="0">
                <a:latin typeface="Calibri" panose="020F0502020204030204" pitchFamily="34" charset="0"/>
                <a:ea typeface="Calibri" panose="020F0502020204030204" pitchFamily="34" charset="0"/>
                <a:cs typeface="Calibri" panose="020F0502020204030204" pitchFamily="34" charset="0"/>
              </a:rPr>
              <a:t>em conjunto com outros órgãos/instituições</a:t>
            </a:r>
            <a:r>
              <a:rPr lang="pt-BR" dirty="0">
                <a:latin typeface="Calibri" panose="020F0502020204030204" pitchFamily="34" charset="0"/>
                <a:ea typeface="Calibri" panose="020F0502020204030204" pitchFamily="34" charset="0"/>
                <a:cs typeface="Calibri" panose="020F0502020204030204" pitchFamily="34" charset="0"/>
              </a:rPr>
              <a:t>, realizará avaliações de políticas públicas, cujos resultados serão levados ao conhecimento do CMAP.</a:t>
            </a: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t>A análise </a:t>
            </a:r>
            <a:r>
              <a:rPr lang="pt-BR" dirty="0" err="1"/>
              <a:t>ex</a:t>
            </a:r>
            <a:r>
              <a:rPr lang="pt-BR" dirty="0"/>
              <a:t> post, ao incorporar técnicas de gerenciamento, permite acessar os pontos críticos de uma política pública, propondo aprimoramentos ou mesmo dizer se tal política deve ser suspensa ou substituída. </a:t>
            </a:r>
            <a:endParaRPr lang="pt-BR" dirty="0">
              <a:latin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O monitoramento da implementação das recomendações advindas dessas avaliações será de competência da CGU.</a:t>
            </a:r>
          </a:p>
          <a:p>
            <a:pPr marL="342900" indent="-342900" algn="just">
              <a:lnSpc>
                <a:spcPct val="107000"/>
              </a:lnSpc>
              <a:spcAft>
                <a:spcPts val="800"/>
              </a:spcAft>
              <a:buClr>
                <a:srgbClr val="F3954F"/>
              </a:buClr>
              <a:buFont typeface="Wingdings" panose="05000000000000000000" pitchFamily="2" charset="2"/>
              <a:buChar char="ü"/>
            </a:pPr>
            <a:endParaRPr lang="pt-BR" dirty="0">
              <a:latin typeface="Calibri" panose="020F0502020204030204" pitchFamily="34" charset="0"/>
              <a:ea typeface="Calibri" panose="020F0502020204030204" pitchFamily="34" charset="0"/>
              <a:cs typeface="Calibri" panose="020F0502020204030204" pitchFamily="34" charset="0"/>
            </a:endParaRPr>
          </a:p>
          <a:p>
            <a:pPr marL="342900" indent="-342900" algn="just">
              <a:lnSpc>
                <a:spcPct val="107000"/>
              </a:lnSpc>
              <a:spcAft>
                <a:spcPts val="800"/>
              </a:spcAft>
              <a:buClr>
                <a:srgbClr val="F3954F"/>
              </a:buClr>
              <a:buFont typeface="Wingdings" panose="05000000000000000000" pitchFamily="2" charset="2"/>
              <a:buChar char="ü"/>
            </a:pPr>
            <a:r>
              <a:rPr lang="pt-BR" dirty="0">
                <a:latin typeface="Calibri" panose="020F0502020204030204" pitchFamily="34" charset="0"/>
                <a:ea typeface="Calibri" panose="020F0502020204030204" pitchFamily="34" charset="0"/>
                <a:cs typeface="Calibri" panose="020F0502020204030204" pitchFamily="34" charset="0"/>
              </a:rPr>
              <a:t>É importante que os auditores se apropriem das diversas abordagens de avaliação contidas nos Guias </a:t>
            </a:r>
            <a:r>
              <a:rPr lang="pt-BR" dirty="0" err="1">
                <a:latin typeface="Calibri" panose="020F0502020204030204" pitchFamily="34" charset="0"/>
                <a:ea typeface="Calibri" panose="020F0502020204030204" pitchFamily="34" charset="0"/>
                <a:cs typeface="Calibri" panose="020F0502020204030204" pitchFamily="34" charset="0"/>
              </a:rPr>
              <a:t>ex</a:t>
            </a:r>
            <a:r>
              <a:rPr lang="pt-BR" dirty="0">
                <a:latin typeface="Calibri" panose="020F0502020204030204" pitchFamily="34" charset="0"/>
                <a:ea typeface="Calibri" panose="020F0502020204030204" pitchFamily="34" charset="0"/>
                <a:cs typeface="Calibri" panose="020F0502020204030204" pitchFamily="34" charset="0"/>
              </a:rPr>
              <a:t> Ante e </a:t>
            </a:r>
            <a:r>
              <a:rPr lang="pt-BR" dirty="0" err="1">
                <a:latin typeface="Calibri" panose="020F0502020204030204" pitchFamily="34" charset="0"/>
                <a:ea typeface="Calibri" panose="020F0502020204030204" pitchFamily="34" charset="0"/>
                <a:cs typeface="Calibri" panose="020F0502020204030204" pitchFamily="34" charset="0"/>
              </a:rPr>
              <a:t>ex</a:t>
            </a:r>
            <a:r>
              <a:rPr lang="pt-BR" dirty="0">
                <a:latin typeface="Calibri" panose="020F0502020204030204" pitchFamily="34" charset="0"/>
                <a:ea typeface="Calibri" panose="020F0502020204030204" pitchFamily="34" charset="0"/>
                <a:cs typeface="Calibri" panose="020F0502020204030204" pitchFamily="34" charset="0"/>
              </a:rPr>
              <a:t> Post, tendo em vista que participarão e conduzirão as avaliações priorizadas pelo CMAP.</a:t>
            </a:r>
          </a:p>
        </p:txBody>
      </p:sp>
      <p:sp>
        <p:nvSpPr>
          <p:cNvPr id="3" name="Título 4">
            <a:extLst>
              <a:ext uri="{FF2B5EF4-FFF2-40B4-BE49-F238E27FC236}">
                <a16:creationId xmlns:a16="http://schemas.microsoft.com/office/drawing/2014/main" id="{C02824C8-2BF8-4646-AA78-068C0FC4F17B}"/>
              </a:ext>
            </a:extLst>
          </p:cNvPr>
          <p:cNvSpPr>
            <a:spLocks noGrp="1"/>
          </p:cNvSpPr>
          <p:nvPr>
            <p:ph type="title"/>
          </p:nvPr>
        </p:nvSpPr>
        <p:spPr>
          <a:xfrm>
            <a:off x="187890" y="926926"/>
            <a:ext cx="10515600" cy="463463"/>
          </a:xfrm>
        </p:spPr>
        <p:txBody>
          <a:bodyPr vert="horz" lIns="91440" tIns="45720" rIns="91440" bIns="45720" rtlCol="0" anchor="ctr">
            <a:normAutofit fontScale="90000"/>
          </a:bodyPr>
          <a:lstStyle/>
          <a:p>
            <a:r>
              <a:rPr lang="pt-BR" sz="2800" dirty="0">
                <a:latin typeface="Open Sans"/>
                <a:cs typeface="Calibri" panose="020F0502020204030204" pitchFamily="34" charset="0"/>
              </a:rPr>
              <a:t>Apontamentos:</a:t>
            </a:r>
          </a:p>
        </p:txBody>
      </p:sp>
    </p:spTree>
    <p:extLst>
      <p:ext uri="{BB962C8B-B14F-4D97-AF65-F5344CB8AC3E}">
        <p14:creationId xmlns:p14="http://schemas.microsoft.com/office/powerpoint/2010/main" val="691565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Título 4">
            <a:extLst>
              <a:ext uri="{FF2B5EF4-FFF2-40B4-BE49-F238E27FC236}">
                <a16:creationId xmlns:a16="http://schemas.microsoft.com/office/drawing/2014/main" id="{C02824C8-2BF8-4646-AA78-068C0FC4F17B}"/>
              </a:ext>
            </a:extLst>
          </p:cNvPr>
          <p:cNvSpPr>
            <a:spLocks noGrp="1"/>
          </p:cNvSpPr>
          <p:nvPr>
            <p:ph type="title"/>
          </p:nvPr>
        </p:nvSpPr>
        <p:spPr>
          <a:xfrm>
            <a:off x="225468" y="1077237"/>
            <a:ext cx="11448790" cy="1027135"/>
          </a:xfrm>
        </p:spPr>
        <p:txBody>
          <a:bodyPr vert="horz" lIns="91440" tIns="45720" rIns="91440" bIns="45720" rtlCol="0" anchor="ctr">
            <a:noAutofit/>
          </a:bodyPr>
          <a:lstStyle/>
          <a:p>
            <a:r>
              <a:rPr lang="pt-BR" sz="2000" b="1" dirty="0">
                <a:latin typeface="Open Sans"/>
              </a:rPr>
              <a:t>Deliberação CCCI nº 02/2019:</a:t>
            </a:r>
            <a:r>
              <a:rPr lang="pt-BR" sz="1800" dirty="0">
                <a:latin typeface="Open Sans"/>
              </a:rPr>
              <a:t> Utilização de guias lançados no âmbito da agenda estratégica do Governo Federal como referência na realização de trabalhos de auditoria. </a:t>
            </a:r>
            <a:r>
              <a:rPr lang="pt-BR" sz="1400" dirty="0">
                <a:latin typeface="Open Sans"/>
              </a:rPr>
              <a:t>(</a:t>
            </a:r>
            <a:r>
              <a:rPr lang="pt-BR" sz="1400" dirty="0">
                <a:latin typeface="Open Sans"/>
                <a:hlinkClick r:id="rId3"/>
              </a:rPr>
              <a:t>Aprovada pela Portaria nº 1.944, de 19 de junho de 2019</a:t>
            </a:r>
            <a:r>
              <a:rPr lang="pt-BR" sz="1400" dirty="0">
                <a:latin typeface="Open Sans"/>
              </a:rPr>
              <a:t>)</a:t>
            </a:r>
          </a:p>
        </p:txBody>
      </p:sp>
      <p:sp>
        <p:nvSpPr>
          <p:cNvPr id="2" name="Retângulo 1">
            <a:extLst>
              <a:ext uri="{FF2B5EF4-FFF2-40B4-BE49-F238E27FC236}">
                <a16:creationId xmlns:a16="http://schemas.microsoft.com/office/drawing/2014/main" id="{8C3750AF-2A7C-4EBC-9D43-32C6C808B1B6}"/>
              </a:ext>
            </a:extLst>
          </p:cNvPr>
          <p:cNvSpPr/>
          <p:nvPr/>
        </p:nvSpPr>
        <p:spPr>
          <a:xfrm>
            <a:off x="563671" y="2300292"/>
            <a:ext cx="10684701" cy="4247317"/>
          </a:xfrm>
          <a:prstGeom prst="rect">
            <a:avLst/>
          </a:prstGeom>
        </p:spPr>
        <p:txBody>
          <a:bodyPr wrap="square">
            <a:spAutoFit/>
          </a:bodyPr>
          <a:lstStyle/>
          <a:p>
            <a:r>
              <a:rPr lang="pt-BR" dirty="0">
                <a:latin typeface="Open Sans"/>
              </a:rPr>
              <a:t>Recomenda-se, como boa prática, que as unidades de auditoria interna considerem, no que couber, como referência na realização de trabalhos de auditoria, os seguintes documentos lançados no âmbito da agenda estratégica do Governo Federal:</a:t>
            </a:r>
          </a:p>
          <a:p>
            <a:r>
              <a:rPr lang="pt-BR" dirty="0">
                <a:latin typeface="Open Sans"/>
              </a:rPr>
              <a:t>- Guia da Política de Governança Pública;</a:t>
            </a:r>
            <a:br>
              <a:rPr lang="pt-BR" dirty="0">
                <a:latin typeface="Open Sans"/>
              </a:rPr>
            </a:br>
            <a:r>
              <a:rPr lang="pt-BR" dirty="0">
                <a:latin typeface="Open Sans"/>
              </a:rPr>
              <a:t>- Guia prático de análise </a:t>
            </a:r>
            <a:r>
              <a:rPr lang="pt-BR" dirty="0" err="1">
                <a:latin typeface="Open Sans"/>
              </a:rPr>
              <a:t>ex-ante</a:t>
            </a:r>
            <a:r>
              <a:rPr lang="pt-BR" dirty="0">
                <a:latin typeface="Open Sans"/>
              </a:rPr>
              <a:t> de avaliação de políticas públicas;</a:t>
            </a:r>
            <a:br>
              <a:rPr lang="pt-BR" dirty="0">
                <a:latin typeface="Open Sans"/>
              </a:rPr>
            </a:br>
            <a:r>
              <a:rPr lang="pt-BR" dirty="0">
                <a:latin typeface="Open Sans"/>
              </a:rPr>
              <a:t>- Guia prático de análise </a:t>
            </a:r>
            <a:r>
              <a:rPr lang="pt-BR" dirty="0" err="1">
                <a:latin typeface="Open Sans"/>
              </a:rPr>
              <a:t>ex-post</a:t>
            </a:r>
            <a:r>
              <a:rPr lang="pt-BR" dirty="0">
                <a:latin typeface="Open Sans"/>
              </a:rPr>
              <a:t> de avaliação de políticas públicas; e</a:t>
            </a:r>
            <a:br>
              <a:rPr lang="pt-BR" dirty="0">
                <a:latin typeface="Open Sans"/>
              </a:rPr>
            </a:br>
            <a:r>
              <a:rPr lang="pt-BR" dirty="0">
                <a:latin typeface="Open Sans"/>
              </a:rPr>
              <a:t>- Diretrizes Gerais e Guia Orientativo para Elaboração de Análise de Impacto Regulatório.</a:t>
            </a:r>
          </a:p>
          <a:p>
            <a:endParaRPr lang="pt-BR" dirty="0">
              <a:latin typeface="Open Sans"/>
            </a:endParaRPr>
          </a:p>
          <a:p>
            <a:r>
              <a:rPr lang="pt-BR" dirty="0">
                <a:latin typeface="Open Sans"/>
              </a:rPr>
              <a:t>O primeiro guia acima listado visa propiciar segurança e estabilidade quanto à interpretação do Decreto nº 9.203, de 22 de novembro de 2017 (política de governança da administração pública federal direta, autárquica e fundacional), bem como fornecer diretrizes para execução da política de governança.</a:t>
            </a:r>
          </a:p>
          <a:p>
            <a:r>
              <a:rPr lang="pt-BR" dirty="0">
                <a:latin typeface="Open Sans"/>
              </a:rPr>
              <a:t>Já os guias práticos de análise </a:t>
            </a:r>
            <a:r>
              <a:rPr lang="pt-BR" dirty="0" err="1">
                <a:latin typeface="Open Sans"/>
              </a:rPr>
              <a:t>ex-ante</a:t>
            </a:r>
            <a:r>
              <a:rPr lang="pt-BR" dirty="0">
                <a:latin typeface="Open Sans"/>
              </a:rPr>
              <a:t> e </a:t>
            </a:r>
            <a:r>
              <a:rPr lang="pt-BR" dirty="0" err="1">
                <a:latin typeface="Open Sans"/>
              </a:rPr>
              <a:t>ex-post</a:t>
            </a:r>
            <a:r>
              <a:rPr lang="pt-BR" dirty="0">
                <a:latin typeface="Open Sans"/>
              </a:rPr>
              <a:t> visam melhor direcionamento de ações e avaliação de políticas públicas.</a:t>
            </a:r>
          </a:p>
          <a:p>
            <a:r>
              <a:rPr lang="pt-BR" dirty="0">
                <a:latin typeface="Open Sans"/>
              </a:rPr>
              <a:t>Por fim, o último documento supracitado possui a finalidade de orientar a elaboração e a aplicação da Análise de Impacto Regulatório no Governo Federal.</a:t>
            </a:r>
          </a:p>
        </p:txBody>
      </p:sp>
    </p:spTree>
    <p:extLst>
      <p:ext uri="{BB962C8B-B14F-4D97-AF65-F5344CB8AC3E}">
        <p14:creationId xmlns:p14="http://schemas.microsoft.com/office/powerpoint/2010/main" val="38777969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1828800" y="440668"/>
            <a:ext cx="8394087" cy="5544616"/>
          </a:xfrm>
        </p:spPr>
        <p:txBody>
          <a:bodyPr>
            <a:noAutofit/>
          </a:bodyPr>
          <a:lstStyle/>
          <a:p>
            <a:pPr marL="0" indent="0" eaLnBrk="0" fontAlgn="base" hangingPunct="0">
              <a:spcBef>
                <a:spcPct val="0"/>
              </a:spcBef>
              <a:spcAft>
                <a:spcPct val="0"/>
              </a:spcAft>
              <a:buNone/>
              <a:defRPr/>
            </a:pPr>
            <a:r>
              <a:rPr lang="pt-BR" altLang="pt-BR" sz="2100" dirty="0">
                <a:solidFill>
                  <a:srgbClr val="000000"/>
                </a:solidFill>
                <a:latin typeface="Arial" charset="0"/>
                <a:cs typeface="Arial" charset="0"/>
              </a:rPr>
              <a:t> </a:t>
            </a:r>
          </a:p>
          <a:p>
            <a:pPr marL="0" indent="0" algn="just" eaLnBrk="0" fontAlgn="base" hangingPunct="0">
              <a:spcBef>
                <a:spcPct val="0"/>
              </a:spcBef>
              <a:spcAft>
                <a:spcPct val="0"/>
              </a:spcAft>
              <a:buFont typeface="Wingdings" pitchFamily="2" charset="2"/>
              <a:buChar char="ü"/>
              <a:defRPr/>
            </a:pPr>
            <a:endParaRPr lang="pt-BR" altLang="pt-BR" sz="2100" dirty="0">
              <a:solidFill>
                <a:srgbClr val="000000"/>
              </a:solidFill>
              <a:latin typeface="Arial" charset="0"/>
              <a:cs typeface="Arial" charset="0"/>
            </a:endParaRP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0"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180000" lvl="1" indent="0" algn="just" eaLnBrk="0" fontAlgn="base" hangingPunct="0">
              <a:spcBef>
                <a:spcPct val="0"/>
              </a:spcBef>
              <a:spcAft>
                <a:spcPct val="0"/>
              </a:spcAft>
              <a:buClr>
                <a:schemeClr val="accent1"/>
              </a:buClr>
              <a:buNone/>
              <a:defRPr/>
            </a:pPr>
            <a:endParaRPr lang="pt-BR" altLang="pt-BR" sz="2100" dirty="0">
              <a:solidFill>
                <a:srgbClr val="FF0000"/>
              </a:solidFill>
              <a:cs typeface="Arial" charset="0"/>
            </a:endParaRPr>
          </a:p>
          <a:p>
            <a:pPr marL="180000" lvl="1" indent="0" algn="just" eaLnBrk="0" fontAlgn="base" hangingPunct="0">
              <a:spcBef>
                <a:spcPct val="0"/>
              </a:spcBef>
              <a:spcAft>
                <a:spcPct val="0"/>
              </a:spcAft>
              <a:buClr>
                <a:schemeClr val="accent1"/>
              </a:buClr>
              <a:buFont typeface="Wingdings" pitchFamily="2" charset="2"/>
              <a:buChar char="ü"/>
              <a:defRPr/>
            </a:pPr>
            <a:endParaRPr lang="pt-BR" altLang="pt-BR" sz="2100" dirty="0">
              <a:solidFill>
                <a:srgbClr val="FF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altLang="pt-BR" sz="2100" dirty="0">
              <a:solidFill>
                <a:srgbClr val="000000"/>
              </a:solidFill>
              <a:cs typeface="Arial" charset="0"/>
            </a:endParaRPr>
          </a:p>
          <a:p>
            <a:pPr marL="0" indent="0" eaLnBrk="0" fontAlgn="base" hangingPunct="0">
              <a:spcBef>
                <a:spcPct val="0"/>
              </a:spcBef>
              <a:spcAft>
                <a:spcPct val="0"/>
              </a:spcAft>
              <a:buClr>
                <a:schemeClr val="accent1"/>
              </a:buClr>
              <a:buFont typeface="Wingdings" pitchFamily="2" charset="2"/>
              <a:buChar char="ü"/>
              <a:defRPr/>
            </a:pPr>
            <a:endParaRPr lang="pt-BR" sz="2100" dirty="0"/>
          </a:p>
        </p:txBody>
      </p:sp>
      <p:sp>
        <p:nvSpPr>
          <p:cNvPr id="4" name="Retângulo 3"/>
          <p:cNvSpPr/>
          <p:nvPr/>
        </p:nvSpPr>
        <p:spPr>
          <a:xfrm>
            <a:off x="48367" y="871744"/>
            <a:ext cx="11954952" cy="1015663"/>
          </a:xfrm>
          <a:prstGeom prst="rect">
            <a:avLst/>
          </a:prstGeom>
          <a:noFill/>
        </p:spPr>
        <p:txBody>
          <a:bodyPr wrap="square" anchor="ctr">
            <a:spAutoFit/>
          </a:bodyPr>
          <a:lstStyle/>
          <a:p>
            <a:endParaRPr lang="pt-BR" sz="1400" dirty="0">
              <a:solidFill>
                <a:prstClr val="black"/>
              </a:solidFill>
              <a:latin typeface="Open Sans"/>
              <a:cs typeface="Arial" panose="020B0604020202020204" pitchFamily="34" charset="0"/>
            </a:endParaRPr>
          </a:p>
          <a:p>
            <a:r>
              <a:rPr lang="pt-BR" sz="2200" dirty="0">
                <a:solidFill>
                  <a:prstClr val="black"/>
                </a:solidFill>
                <a:latin typeface="Open Sans"/>
                <a:cs typeface="Arial" panose="020B0604020202020204" pitchFamily="34" charset="0"/>
              </a:rPr>
              <a:t>O aperfeiçoamento da Governança Pública é uma estratégia coordenada de ações em parceria</a:t>
            </a:r>
          </a:p>
          <a:p>
            <a:endParaRPr lang="pt-BR" sz="2400" dirty="0">
              <a:solidFill>
                <a:prstClr val="black"/>
              </a:solidFill>
              <a:latin typeface="Open Sans"/>
              <a:cs typeface="Arial" panose="020B0604020202020204" pitchFamily="34" charset="0"/>
            </a:endParaRPr>
          </a:p>
        </p:txBody>
      </p:sp>
      <p:grpSp>
        <p:nvGrpSpPr>
          <p:cNvPr id="11" name="Agrupar 10">
            <a:extLst>
              <a:ext uri="{FF2B5EF4-FFF2-40B4-BE49-F238E27FC236}">
                <a16:creationId xmlns:a16="http://schemas.microsoft.com/office/drawing/2014/main" id="{F0D2DFC2-444D-4766-BC1E-EE33DDD43E10}"/>
              </a:ext>
            </a:extLst>
          </p:cNvPr>
          <p:cNvGrpSpPr/>
          <p:nvPr/>
        </p:nvGrpSpPr>
        <p:grpSpPr>
          <a:xfrm>
            <a:off x="1237954" y="1942026"/>
            <a:ext cx="2538102" cy="1883589"/>
            <a:chOff x="349943" y="2838929"/>
            <a:chExt cx="1863839" cy="1708721"/>
          </a:xfrm>
          <a:solidFill>
            <a:schemeClr val="accent1"/>
          </a:solidFill>
        </p:grpSpPr>
        <p:sp>
          <p:nvSpPr>
            <p:cNvPr id="24" name="Elipse 23">
              <a:extLst>
                <a:ext uri="{FF2B5EF4-FFF2-40B4-BE49-F238E27FC236}">
                  <a16:creationId xmlns:a16="http://schemas.microsoft.com/office/drawing/2014/main" id="{BCD42B66-5295-4C5B-B66F-F93E148F2713}"/>
                </a:ext>
              </a:extLst>
            </p:cNvPr>
            <p:cNvSpPr/>
            <p:nvPr/>
          </p:nvSpPr>
          <p:spPr>
            <a:xfrm>
              <a:off x="349943" y="2838929"/>
              <a:ext cx="1863839" cy="1708721"/>
            </a:xfrm>
            <a:prstGeom prst="ellipse">
              <a:avLst/>
            </a:prstGeom>
            <a:grpFill/>
            <a:ln>
              <a:solidFill>
                <a:srgbClr val="00277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5" name="Elipse 4">
              <a:extLst>
                <a:ext uri="{FF2B5EF4-FFF2-40B4-BE49-F238E27FC236}">
                  <a16:creationId xmlns:a16="http://schemas.microsoft.com/office/drawing/2014/main" id="{540DDF2E-D46A-41F4-A2B8-BDE8101609F1}"/>
                </a:ext>
              </a:extLst>
            </p:cNvPr>
            <p:cNvSpPr txBox="1"/>
            <p:nvPr/>
          </p:nvSpPr>
          <p:spPr>
            <a:xfrm>
              <a:off x="653760" y="3140046"/>
              <a:ext cx="1253437" cy="1106487"/>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5400" tIns="25400" rIns="25400" bIns="25400" numCol="1" spcCol="1270" anchor="ctr" anchorCtr="0">
              <a:noAutofit/>
            </a:bodyPr>
            <a:lstStyle/>
            <a:p>
              <a:pPr algn="ctr" defTabSz="889000">
                <a:spcBef>
                  <a:spcPct val="0"/>
                </a:spcBef>
              </a:pPr>
              <a:r>
                <a:rPr lang="pt-BR" sz="1500" b="1" dirty="0">
                  <a:latin typeface="Century Gothic" pitchFamily="34" charset="0"/>
                </a:rPr>
                <a:t>Política de Governança Pública</a:t>
              </a:r>
            </a:p>
            <a:p>
              <a:pPr algn="ctr" defTabSz="889000">
                <a:lnSpc>
                  <a:spcPct val="90000"/>
                </a:lnSpc>
                <a:spcBef>
                  <a:spcPct val="0"/>
                </a:spcBef>
                <a:spcAft>
                  <a:spcPct val="35000"/>
                </a:spcAft>
              </a:pPr>
              <a:r>
                <a:rPr lang="pt-BR" sz="1500" i="1" dirty="0">
                  <a:latin typeface="Century Gothic" pitchFamily="34" charset="0"/>
                </a:rPr>
                <a:t>PL 9163/2017</a:t>
              </a:r>
            </a:p>
            <a:p>
              <a:pPr algn="ctr" defTabSz="889000">
                <a:lnSpc>
                  <a:spcPct val="90000"/>
                </a:lnSpc>
                <a:spcBef>
                  <a:spcPct val="0"/>
                </a:spcBef>
                <a:spcAft>
                  <a:spcPct val="35000"/>
                </a:spcAft>
              </a:pPr>
              <a:r>
                <a:rPr lang="pt-BR" sz="1500" i="1" dirty="0">
                  <a:latin typeface="Century Gothic" pitchFamily="34" charset="0"/>
                </a:rPr>
                <a:t> Decreto 9.203/2017</a:t>
              </a:r>
              <a:endParaRPr lang="pt-BR" sz="1500" b="1" i="1" dirty="0">
                <a:latin typeface="Century Gothic" pitchFamily="34" charset="0"/>
              </a:endParaRPr>
            </a:p>
          </p:txBody>
        </p:sp>
      </p:grpSp>
      <p:grpSp>
        <p:nvGrpSpPr>
          <p:cNvPr id="12" name="Agrupar 11">
            <a:extLst>
              <a:ext uri="{FF2B5EF4-FFF2-40B4-BE49-F238E27FC236}">
                <a16:creationId xmlns:a16="http://schemas.microsoft.com/office/drawing/2014/main" id="{C4E77F52-209A-4DDD-A594-A1E624B6827A}"/>
              </a:ext>
            </a:extLst>
          </p:cNvPr>
          <p:cNvGrpSpPr/>
          <p:nvPr/>
        </p:nvGrpSpPr>
        <p:grpSpPr>
          <a:xfrm>
            <a:off x="3900556" y="3835111"/>
            <a:ext cx="901738" cy="793080"/>
            <a:chOff x="2952327" y="3024336"/>
            <a:chExt cx="1081027" cy="1081027"/>
          </a:xfrm>
        </p:grpSpPr>
        <p:sp>
          <p:nvSpPr>
            <p:cNvPr id="22" name="Sinal de Adição 21">
              <a:extLst>
                <a:ext uri="{FF2B5EF4-FFF2-40B4-BE49-F238E27FC236}">
                  <a16:creationId xmlns:a16="http://schemas.microsoft.com/office/drawing/2014/main" id="{1ED5BAD1-57B9-48D9-9D28-D2EA7C957BF7}"/>
                </a:ext>
              </a:extLst>
            </p:cNvPr>
            <p:cNvSpPr/>
            <p:nvPr/>
          </p:nvSpPr>
          <p:spPr>
            <a:xfrm>
              <a:off x="2952327" y="3024336"/>
              <a:ext cx="1081027" cy="1081027"/>
            </a:xfrm>
            <a:prstGeom prst="mathPlus">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3" name="Sinal de Adição 6">
              <a:extLst>
                <a:ext uri="{FF2B5EF4-FFF2-40B4-BE49-F238E27FC236}">
                  <a16:creationId xmlns:a16="http://schemas.microsoft.com/office/drawing/2014/main" id="{878AB245-A4A0-49DE-BCF2-9AF99001C090}"/>
                </a:ext>
              </a:extLst>
            </p:cNvPr>
            <p:cNvSpPr txBox="1"/>
            <p:nvPr/>
          </p:nvSpPr>
          <p:spPr>
            <a:xfrm>
              <a:off x="3095617" y="3437721"/>
              <a:ext cx="794447" cy="25425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algn="ctr" defTabSz="800100">
                <a:lnSpc>
                  <a:spcPct val="90000"/>
                </a:lnSpc>
                <a:spcBef>
                  <a:spcPct val="0"/>
                </a:spcBef>
                <a:spcAft>
                  <a:spcPct val="35000"/>
                </a:spcAft>
              </a:pPr>
              <a:endParaRPr lang="pt-BR" dirty="0"/>
            </a:p>
          </p:txBody>
        </p:sp>
      </p:grpSp>
      <p:grpSp>
        <p:nvGrpSpPr>
          <p:cNvPr id="13" name="Agrupar 12">
            <a:extLst>
              <a:ext uri="{FF2B5EF4-FFF2-40B4-BE49-F238E27FC236}">
                <a16:creationId xmlns:a16="http://schemas.microsoft.com/office/drawing/2014/main" id="{7423E738-FFDE-468C-80AE-B95E6E6C413B}"/>
              </a:ext>
            </a:extLst>
          </p:cNvPr>
          <p:cNvGrpSpPr/>
          <p:nvPr/>
        </p:nvGrpSpPr>
        <p:grpSpPr>
          <a:xfrm>
            <a:off x="4517135" y="1942026"/>
            <a:ext cx="2538101" cy="1928717"/>
            <a:chOff x="504059" y="3240360"/>
            <a:chExt cx="1863839" cy="1863839"/>
          </a:xfrm>
          <a:solidFill>
            <a:schemeClr val="accent1"/>
          </a:solidFill>
        </p:grpSpPr>
        <p:sp>
          <p:nvSpPr>
            <p:cNvPr id="20" name="Elipse 19">
              <a:extLst>
                <a:ext uri="{FF2B5EF4-FFF2-40B4-BE49-F238E27FC236}">
                  <a16:creationId xmlns:a16="http://schemas.microsoft.com/office/drawing/2014/main" id="{75662C52-A01E-4392-AB1B-97F8A2EDEC0A}"/>
                </a:ext>
              </a:extLst>
            </p:cNvPr>
            <p:cNvSpPr/>
            <p:nvPr/>
          </p:nvSpPr>
          <p:spPr>
            <a:xfrm>
              <a:off x="504059" y="3240360"/>
              <a:ext cx="1863839" cy="1863839"/>
            </a:xfrm>
            <a:prstGeom prst="ellipse">
              <a:avLst/>
            </a:prstGeom>
            <a:grpFill/>
            <a:ln>
              <a:solidFill>
                <a:srgbClr val="00277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1" name="Elipse 8">
              <a:extLst>
                <a:ext uri="{FF2B5EF4-FFF2-40B4-BE49-F238E27FC236}">
                  <a16:creationId xmlns:a16="http://schemas.microsoft.com/office/drawing/2014/main" id="{4960B6FD-0931-4983-A5E2-47B07CFA74B0}"/>
                </a:ext>
              </a:extLst>
            </p:cNvPr>
            <p:cNvSpPr txBox="1"/>
            <p:nvPr/>
          </p:nvSpPr>
          <p:spPr>
            <a:xfrm>
              <a:off x="777012" y="3513313"/>
              <a:ext cx="1317933" cy="131793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algn="ctr" defTabSz="800100">
                <a:spcBef>
                  <a:spcPct val="0"/>
                </a:spcBef>
              </a:pPr>
              <a:r>
                <a:rPr lang="pt-BR" sz="1200" b="1" dirty="0">
                  <a:latin typeface="Century Gothic" pitchFamily="34" charset="0"/>
                </a:rPr>
                <a:t>Brasil - OCDE</a:t>
              </a:r>
              <a:r>
                <a:rPr lang="pt-BR" sz="1200" i="1" dirty="0">
                  <a:latin typeface="Century Gothic" pitchFamily="34" charset="0"/>
                </a:rPr>
                <a:t> Recomendações, convenções e diretrizes que sinalizam boas práticas internacionais</a:t>
              </a:r>
              <a:endParaRPr lang="pt-BR" sz="1200" b="1" dirty="0">
                <a:latin typeface="Century Gothic" pitchFamily="34" charset="0"/>
              </a:endParaRPr>
            </a:p>
          </p:txBody>
        </p:sp>
      </p:grpSp>
      <p:grpSp>
        <p:nvGrpSpPr>
          <p:cNvPr id="15" name="Agrupar 14">
            <a:extLst>
              <a:ext uri="{FF2B5EF4-FFF2-40B4-BE49-F238E27FC236}">
                <a16:creationId xmlns:a16="http://schemas.microsoft.com/office/drawing/2014/main" id="{E0375C2B-5C5A-4A92-8779-B36A60D81DCD}"/>
              </a:ext>
            </a:extLst>
          </p:cNvPr>
          <p:cNvGrpSpPr/>
          <p:nvPr/>
        </p:nvGrpSpPr>
        <p:grpSpPr>
          <a:xfrm>
            <a:off x="3160670" y="4756853"/>
            <a:ext cx="2110151" cy="1960940"/>
            <a:chOff x="5616609" y="1080122"/>
            <a:chExt cx="2922500" cy="3096359"/>
          </a:xfrm>
          <a:solidFill>
            <a:schemeClr val="accent1"/>
          </a:solidFill>
        </p:grpSpPr>
        <p:sp>
          <p:nvSpPr>
            <p:cNvPr id="16" name="Elipse 15">
              <a:extLst>
                <a:ext uri="{FF2B5EF4-FFF2-40B4-BE49-F238E27FC236}">
                  <a16:creationId xmlns:a16="http://schemas.microsoft.com/office/drawing/2014/main" id="{BB04C3AD-5A18-48B7-A0B8-00410638F310}"/>
                </a:ext>
              </a:extLst>
            </p:cNvPr>
            <p:cNvSpPr/>
            <p:nvPr/>
          </p:nvSpPr>
          <p:spPr>
            <a:xfrm>
              <a:off x="5616609" y="1080122"/>
              <a:ext cx="2922500" cy="3096359"/>
            </a:xfrm>
            <a:prstGeom prst="ellipse">
              <a:avLst/>
            </a:prstGeom>
            <a:grpFill/>
            <a:ln>
              <a:solidFill>
                <a:srgbClr val="002776"/>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7" name="Elipse 12">
              <a:extLst>
                <a:ext uri="{FF2B5EF4-FFF2-40B4-BE49-F238E27FC236}">
                  <a16:creationId xmlns:a16="http://schemas.microsoft.com/office/drawing/2014/main" id="{47A43020-680B-4395-B9AB-C002E8E8F40A}"/>
                </a:ext>
              </a:extLst>
            </p:cNvPr>
            <p:cNvSpPr txBox="1"/>
            <p:nvPr/>
          </p:nvSpPr>
          <p:spPr>
            <a:xfrm>
              <a:off x="5616609" y="1628371"/>
              <a:ext cx="2922500" cy="1895956"/>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algn="ctr" defTabSz="1066800">
                <a:lnSpc>
                  <a:spcPct val="90000"/>
                </a:lnSpc>
                <a:spcBef>
                  <a:spcPct val="0"/>
                </a:spcBef>
                <a:spcAft>
                  <a:spcPct val="35000"/>
                </a:spcAft>
              </a:pPr>
              <a:r>
                <a:rPr lang="pt-BR" sz="1300" b="1" cap="all" dirty="0">
                  <a:solidFill>
                    <a:schemeClr val="bg1"/>
                  </a:solidFill>
                  <a:latin typeface="Century Gothic" pitchFamily="34" charset="0"/>
                  <a:cs typeface="Arial" panose="020B0604020202020204" pitchFamily="34" charset="0"/>
                </a:rPr>
                <a:t>Aprimoramento da Governança Pública</a:t>
              </a:r>
            </a:p>
          </p:txBody>
        </p:sp>
      </p:grpSp>
      <p:graphicFrame>
        <p:nvGraphicFramePr>
          <p:cNvPr id="29" name="Diagrama 28">
            <a:extLst>
              <a:ext uri="{FF2B5EF4-FFF2-40B4-BE49-F238E27FC236}">
                <a16:creationId xmlns:a16="http://schemas.microsoft.com/office/drawing/2014/main" id="{11050286-EF48-4EC5-A344-4F15F9EFB947}"/>
              </a:ext>
            </a:extLst>
          </p:cNvPr>
          <p:cNvGraphicFramePr/>
          <p:nvPr>
            <p:extLst/>
          </p:nvPr>
        </p:nvGraphicFramePr>
        <p:xfrm>
          <a:off x="7294251" y="2054567"/>
          <a:ext cx="3744919" cy="36731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0" name="Seta: Dobrada para Cima 29">
            <a:extLst>
              <a:ext uri="{FF2B5EF4-FFF2-40B4-BE49-F238E27FC236}">
                <a16:creationId xmlns:a16="http://schemas.microsoft.com/office/drawing/2014/main" id="{1AD8F0E3-B86E-4448-B50C-F5C8E945D2D2}"/>
              </a:ext>
            </a:extLst>
          </p:cNvPr>
          <p:cNvSpPr/>
          <p:nvPr/>
        </p:nvSpPr>
        <p:spPr>
          <a:xfrm rot="5400000">
            <a:off x="2357495" y="4338314"/>
            <a:ext cx="619644" cy="590302"/>
          </a:xfrm>
          <a:prstGeom prst="bentUpArrow">
            <a:avLst>
              <a:gd name="adj1" fmla="val 31886"/>
              <a:gd name="adj2" fmla="val 33263"/>
              <a:gd name="adj3" fmla="val 31886"/>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31" name="Seta: Dobrada para Cima 30">
            <a:extLst>
              <a:ext uri="{FF2B5EF4-FFF2-40B4-BE49-F238E27FC236}">
                <a16:creationId xmlns:a16="http://schemas.microsoft.com/office/drawing/2014/main" id="{34BA18F1-BF4C-47B1-B0FA-AFC2FD2B28C3}"/>
              </a:ext>
            </a:extLst>
          </p:cNvPr>
          <p:cNvSpPr/>
          <p:nvPr/>
        </p:nvSpPr>
        <p:spPr>
          <a:xfrm rot="5400000" flipV="1">
            <a:off x="5505805" y="4318806"/>
            <a:ext cx="619644" cy="629321"/>
          </a:xfrm>
          <a:prstGeom prst="bentUpArrow">
            <a:avLst>
              <a:gd name="adj1" fmla="val 31886"/>
              <a:gd name="adj2" fmla="val 33263"/>
              <a:gd name="adj3" fmla="val 31886"/>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6" name="Espaço Reservado para Conteúdo 2"/>
          <p:cNvSpPr txBox="1">
            <a:spLocks noChangeArrowheads="1"/>
          </p:cNvSpPr>
          <p:nvPr/>
        </p:nvSpPr>
        <p:spPr>
          <a:xfrm>
            <a:off x="1828800" y="441325"/>
            <a:ext cx="8394700" cy="5543550"/>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buNone/>
            </a:pPr>
            <a:r>
              <a:rPr lang="pt-BR" altLang="pt-BR" sz="2100" dirty="0">
                <a:solidFill>
                  <a:srgbClr val="000000"/>
                </a:solidFill>
                <a:latin typeface="Arial" panose="020B0604020202020204" pitchFamily="34" charset="0"/>
                <a:cs typeface="Arial" panose="020B0604020202020204" pitchFamily="34" charset="0"/>
              </a:rPr>
              <a:t> </a:t>
            </a:r>
          </a:p>
          <a:p>
            <a:pPr marL="0" indent="0" algn="just">
              <a:spcBef>
                <a:spcPct val="0"/>
              </a:spcBef>
              <a:buFont typeface="Wingdings" panose="05000000000000000000" pitchFamily="2" charset="2"/>
              <a:buChar char="ü"/>
            </a:pPr>
            <a:endParaRPr lang="pt-BR" altLang="pt-BR" sz="2100" dirty="0">
              <a:solidFill>
                <a:srgbClr val="000000"/>
              </a:solidFill>
              <a:latin typeface="Arial" panose="020B0604020202020204" pitchFamily="34" charset="0"/>
              <a:cs typeface="Arial" panose="020B0604020202020204" pitchFamily="34" charset="0"/>
            </a:endParaRPr>
          </a:p>
          <a:p>
            <a:pPr marL="0" indent="0" algn="just">
              <a:spcBef>
                <a:spcPct val="0"/>
              </a:spcBef>
              <a:buClr>
                <a:schemeClr val="accent1"/>
              </a:buClr>
              <a:buFont typeface="Wingdings" panose="05000000000000000000" pitchFamily="2" charset="2"/>
              <a:buChar char="ü"/>
            </a:pPr>
            <a:endParaRPr lang="pt-BR" altLang="pt-BR" sz="2100" dirty="0">
              <a:solidFill>
                <a:srgbClr val="000000"/>
              </a:solidFill>
              <a:cs typeface="Arial" panose="020B0604020202020204" pitchFamily="34" charset="0"/>
            </a:endParaRPr>
          </a:p>
          <a:p>
            <a:pPr marL="0" indent="0" algn="just">
              <a:spcBef>
                <a:spcPct val="0"/>
              </a:spcBef>
              <a:buClr>
                <a:schemeClr val="accent1"/>
              </a:buClr>
              <a:buFont typeface="Wingdings" panose="05000000000000000000" pitchFamily="2" charset="2"/>
              <a:buChar char="ü"/>
            </a:pPr>
            <a:endParaRPr lang="pt-BR" altLang="pt-BR" sz="2100" dirty="0">
              <a:solidFill>
                <a:srgbClr val="000000"/>
              </a:solidFill>
              <a:cs typeface="Arial" panose="020B0604020202020204" pitchFamily="34" charset="0"/>
            </a:endParaRPr>
          </a:p>
          <a:p>
            <a:pPr marL="179388" lvl="1" indent="0" algn="just">
              <a:spcBef>
                <a:spcPct val="0"/>
              </a:spcBef>
              <a:buClr>
                <a:schemeClr val="accent1"/>
              </a:buClr>
              <a:buNone/>
            </a:pPr>
            <a:endParaRPr lang="pt-BR" altLang="pt-BR" sz="2100" dirty="0">
              <a:solidFill>
                <a:srgbClr val="FF0000"/>
              </a:solidFill>
              <a:cs typeface="Arial" panose="020B0604020202020204" pitchFamily="34" charset="0"/>
            </a:endParaRPr>
          </a:p>
          <a:p>
            <a:pPr marL="179388" lvl="1" indent="0" algn="just">
              <a:spcBef>
                <a:spcPct val="0"/>
              </a:spcBef>
              <a:buClr>
                <a:schemeClr val="accent1"/>
              </a:buClr>
              <a:buFont typeface="Wingdings" panose="05000000000000000000" pitchFamily="2" charset="2"/>
              <a:buChar char="ü"/>
            </a:pPr>
            <a:endParaRPr lang="pt-BR" altLang="pt-BR" sz="2100" dirty="0">
              <a:solidFill>
                <a:srgbClr val="FF0000"/>
              </a:solidFill>
              <a:cs typeface="Arial" panose="020B0604020202020204" pitchFamily="34" charset="0"/>
            </a:endParaRPr>
          </a:p>
          <a:p>
            <a:pPr marL="0" indent="0">
              <a:spcBef>
                <a:spcPct val="0"/>
              </a:spcBef>
              <a:buClr>
                <a:schemeClr val="accent1"/>
              </a:buClr>
              <a:buFont typeface="Wingdings" panose="05000000000000000000" pitchFamily="2" charset="2"/>
              <a:buChar char="ü"/>
            </a:pPr>
            <a:endParaRPr lang="pt-BR" altLang="pt-BR" sz="2100" dirty="0">
              <a:solidFill>
                <a:srgbClr val="000000"/>
              </a:solidFill>
              <a:cs typeface="Arial" panose="020B0604020202020204" pitchFamily="34" charset="0"/>
            </a:endParaRPr>
          </a:p>
          <a:p>
            <a:pPr marL="0" indent="0">
              <a:spcBef>
                <a:spcPct val="0"/>
              </a:spcBef>
              <a:buClr>
                <a:schemeClr val="accent1"/>
              </a:buClr>
              <a:buFont typeface="Wingdings" panose="05000000000000000000" pitchFamily="2" charset="2"/>
              <a:buChar char="ü"/>
            </a:pPr>
            <a:endParaRPr lang="pt-BR" altLang="pt-BR" sz="2100" dirty="0"/>
          </a:p>
        </p:txBody>
      </p:sp>
    </p:spTree>
    <p:extLst>
      <p:ext uri="{BB962C8B-B14F-4D97-AF65-F5344CB8AC3E}">
        <p14:creationId xmlns:p14="http://schemas.microsoft.com/office/powerpoint/2010/main" val="1190617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27" name="CaixaDeTexto 5">
            <a:extLst>
              <a:ext uri="{FF2B5EF4-FFF2-40B4-BE49-F238E27FC236}">
                <a16:creationId xmlns:a16="http://schemas.microsoft.com/office/drawing/2014/main" id="{A5B828D0-F52D-49C3-AAC4-6AA4F2836B22}"/>
              </a:ext>
            </a:extLst>
          </p:cNvPr>
          <p:cNvSpPr txBox="1">
            <a:spLocks noChangeArrowheads="1"/>
          </p:cNvSpPr>
          <p:nvPr/>
        </p:nvSpPr>
        <p:spPr bwMode="auto">
          <a:xfrm>
            <a:off x="2085181" y="2287589"/>
            <a:ext cx="8021637" cy="2831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endParaRPr lang="pt-BR" altLang="pt-BR" sz="2700" b="1" dirty="0">
              <a:solidFill>
                <a:schemeClr val="accent1"/>
              </a:solidFill>
              <a:latin typeface="GillSans" pitchFamily="34" charset="0"/>
            </a:endParaRPr>
          </a:p>
          <a:p>
            <a:pPr algn="ctr" eaLnBrk="1" hangingPunct="1"/>
            <a:r>
              <a:rPr lang="pt-BR" altLang="pt-BR" sz="2800" b="1" dirty="0">
                <a:solidFill>
                  <a:schemeClr val="accent1"/>
                </a:solidFill>
                <a:latin typeface="GillSans" pitchFamily="34" charset="0"/>
              </a:rPr>
              <a:t>Antônio Carlos Bezerra Leonel</a:t>
            </a:r>
          </a:p>
          <a:p>
            <a:pPr algn="ctr" eaLnBrk="1" hangingPunct="1"/>
            <a:r>
              <a:rPr lang="pt-BR" altLang="pt-BR" sz="2400" dirty="0">
                <a:solidFill>
                  <a:schemeClr val="accent1"/>
                </a:solidFill>
                <a:latin typeface="GillSans" pitchFamily="34" charset="0"/>
              </a:rPr>
              <a:t>Secretário Federal de Controle Interno </a:t>
            </a:r>
          </a:p>
          <a:p>
            <a:pPr algn="ctr" eaLnBrk="1" hangingPunct="1"/>
            <a:r>
              <a:rPr lang="pt-BR" altLang="pt-BR" sz="2400" dirty="0">
                <a:solidFill>
                  <a:schemeClr val="accent1"/>
                </a:solidFill>
                <a:latin typeface="GillSans" pitchFamily="34" charset="0"/>
              </a:rPr>
              <a:t>Controladoria-Geral da União</a:t>
            </a:r>
          </a:p>
          <a:p>
            <a:pPr algn="ctr" eaLnBrk="1" hangingPunct="1"/>
            <a:r>
              <a:rPr lang="pt-BR" altLang="pt-BR" sz="2400" dirty="0">
                <a:solidFill>
                  <a:schemeClr val="accent1"/>
                </a:solidFill>
                <a:latin typeface="GillSans" pitchFamily="34" charset="0"/>
              </a:rPr>
              <a:t>+55 (61) 2020-7115</a:t>
            </a:r>
          </a:p>
          <a:p>
            <a:pPr algn="ctr" eaLnBrk="1" hangingPunct="1"/>
            <a:r>
              <a:rPr lang="pt-BR" altLang="pt-BR" sz="2400" dirty="0">
                <a:solidFill>
                  <a:schemeClr val="accent1"/>
                </a:solidFill>
                <a:latin typeface="GillSans" pitchFamily="34" charset="0"/>
              </a:rPr>
              <a:t>sfcgab@cgu.gov.br</a:t>
            </a:r>
          </a:p>
          <a:p>
            <a:pPr algn="ctr" eaLnBrk="1" hangingPunct="1"/>
            <a:endParaRPr lang="pt-BR" altLang="pt-BR" sz="2700" b="1" dirty="0">
              <a:solidFill>
                <a:schemeClr val="accent1"/>
              </a:solidFill>
              <a:latin typeface="GillSans" pitchFamily="34" charset="0"/>
            </a:endParaRPr>
          </a:p>
        </p:txBody>
      </p:sp>
      <p:pic>
        <p:nvPicPr>
          <p:cNvPr id="28" name="Imagem 2">
            <a:extLst>
              <a:ext uri="{FF2B5EF4-FFF2-40B4-BE49-F238E27FC236}">
                <a16:creationId xmlns:a16="http://schemas.microsoft.com/office/drawing/2014/main" id="{3DC4CCA6-97F7-45C8-8D4A-7C69BB5C43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1539" y="5418421"/>
            <a:ext cx="4538663" cy="1300163"/>
          </a:xfrm>
          <a:prstGeom prst="rect">
            <a:avLst/>
          </a:prstGeom>
          <a:solidFill>
            <a:schemeClr val="accent1">
              <a:lumMod val="40000"/>
              <a:lumOff val="60000"/>
            </a:schemeClr>
          </a:solidFill>
          <a:ln>
            <a:noFill/>
          </a:ln>
          <a:extLst/>
        </p:spPr>
      </p:pic>
    </p:spTree>
    <p:extLst>
      <p:ext uri="{BB962C8B-B14F-4D97-AF65-F5344CB8AC3E}">
        <p14:creationId xmlns:p14="http://schemas.microsoft.com/office/powerpoint/2010/main" val="8152272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12" name="Diagrama 11">
            <a:extLst>
              <a:ext uri="{FF2B5EF4-FFF2-40B4-BE49-F238E27FC236}">
                <a16:creationId xmlns:a16="http://schemas.microsoft.com/office/drawing/2014/main" id="{28974801-CC0B-4290-94C8-3FD48462242C}"/>
              </a:ext>
            </a:extLst>
          </p:cNvPr>
          <p:cNvGraphicFramePr/>
          <p:nvPr>
            <p:extLst>
              <p:ext uri="{D42A27DB-BD31-4B8C-83A1-F6EECF244321}">
                <p14:modId xmlns:p14="http://schemas.microsoft.com/office/powerpoint/2010/main" val="2900451984"/>
              </p:ext>
            </p:extLst>
          </p:nvPr>
        </p:nvGraphicFramePr>
        <p:xfrm>
          <a:off x="2032000" y="1057868"/>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08013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Texto Explicativo 2 (Sem Bordas) 3"/>
          <p:cNvSpPr/>
          <p:nvPr/>
        </p:nvSpPr>
        <p:spPr>
          <a:xfrm>
            <a:off x="9081125" y="2498007"/>
            <a:ext cx="1904201" cy="1469184"/>
          </a:xfrm>
          <a:prstGeom prst="callout2">
            <a:avLst>
              <a:gd name="adj1" fmla="val 18750"/>
              <a:gd name="adj2" fmla="val -83"/>
              <a:gd name="adj3" fmla="val 18750"/>
              <a:gd name="adj4" fmla="val -16667"/>
              <a:gd name="adj5" fmla="val 62679"/>
              <a:gd name="adj6" fmla="val -61286"/>
            </a:avLst>
          </a:prstGeom>
          <a:noFill/>
          <a:ln>
            <a:solidFill>
              <a:srgbClr val="035363"/>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r>
              <a:rPr lang="pt-BR" sz="1600" dirty="0">
                <a:solidFill>
                  <a:srgbClr val="035363"/>
                </a:solidFill>
              </a:rPr>
              <a:t>Os </a:t>
            </a:r>
            <a:r>
              <a:rPr lang="pt-BR" sz="1600" u="sng" dirty="0">
                <a:solidFill>
                  <a:srgbClr val="035363"/>
                </a:solidFill>
              </a:rPr>
              <a:t>componentes</a:t>
            </a:r>
            <a:r>
              <a:rPr lang="pt-BR" sz="1600" dirty="0">
                <a:solidFill>
                  <a:srgbClr val="035363"/>
                </a:solidFill>
              </a:rPr>
              <a:t> aplicam-se a todos os níveis, unidades e dependências do órgão ou da entidade pública</a:t>
            </a:r>
          </a:p>
        </p:txBody>
      </p:sp>
      <p:graphicFrame>
        <p:nvGraphicFramePr>
          <p:cNvPr id="34" name="Gráfico 33"/>
          <p:cNvGraphicFramePr/>
          <p:nvPr>
            <p:extLst/>
          </p:nvPr>
        </p:nvGraphicFramePr>
        <p:xfrm>
          <a:off x="4364118" y="4429601"/>
          <a:ext cx="427219" cy="45971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6" name="Gráfico 35"/>
          <p:cNvGraphicFramePr/>
          <p:nvPr>
            <p:extLst/>
          </p:nvPr>
        </p:nvGraphicFramePr>
        <p:xfrm>
          <a:off x="2774102" y="5297284"/>
          <a:ext cx="427219" cy="459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8" name="Gráfico 37"/>
          <p:cNvGraphicFramePr/>
          <p:nvPr>
            <p:extLst/>
          </p:nvPr>
        </p:nvGraphicFramePr>
        <p:xfrm>
          <a:off x="2842182" y="5307867"/>
          <a:ext cx="394169" cy="43493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Gráfico 38"/>
          <p:cNvGraphicFramePr/>
          <p:nvPr>
            <p:extLst/>
          </p:nvPr>
        </p:nvGraphicFramePr>
        <p:xfrm>
          <a:off x="4364118" y="4424186"/>
          <a:ext cx="394169" cy="4349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Gráfico 15"/>
          <p:cNvGraphicFramePr/>
          <p:nvPr>
            <p:extLst/>
          </p:nvPr>
        </p:nvGraphicFramePr>
        <p:xfrm>
          <a:off x="2842183" y="5293662"/>
          <a:ext cx="393859" cy="43481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iagrama 2"/>
          <p:cNvGraphicFramePr/>
          <p:nvPr>
            <p:extLst>
              <p:ext uri="{D42A27DB-BD31-4B8C-83A1-F6EECF244321}">
                <p14:modId xmlns:p14="http://schemas.microsoft.com/office/powerpoint/2010/main" val="3730055307"/>
              </p:ext>
            </p:extLst>
          </p:nvPr>
        </p:nvGraphicFramePr>
        <p:xfrm>
          <a:off x="1765165" y="1791221"/>
          <a:ext cx="6123972" cy="48976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41" name="Grupo 40"/>
          <p:cNvGrpSpPr/>
          <p:nvPr/>
        </p:nvGrpSpPr>
        <p:grpSpPr>
          <a:xfrm rot="20563946">
            <a:off x="1766236" y="3237682"/>
            <a:ext cx="867407" cy="1329696"/>
            <a:chOff x="1155032" y="2261936"/>
            <a:chExt cx="1860884" cy="2406316"/>
          </a:xfrm>
        </p:grpSpPr>
        <p:sp>
          <p:nvSpPr>
            <p:cNvPr id="42" name="Retângulo 41"/>
            <p:cNvSpPr/>
            <p:nvPr/>
          </p:nvSpPr>
          <p:spPr>
            <a:xfrm>
              <a:off x="1155032" y="2261936"/>
              <a:ext cx="1860884" cy="2406316"/>
            </a:xfrm>
            <a:prstGeom prst="rect">
              <a:avLst/>
            </a:prstGeom>
            <a:solidFill>
              <a:schemeClr val="bg1"/>
            </a:solidFill>
            <a:ln w="571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3" name="Retângulo 42"/>
            <p:cNvSpPr/>
            <p:nvPr/>
          </p:nvSpPr>
          <p:spPr>
            <a:xfrm>
              <a:off x="1315453" y="2508437"/>
              <a:ext cx="1524000" cy="180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4" name="Retângulo 43"/>
            <p:cNvSpPr/>
            <p:nvPr/>
          </p:nvSpPr>
          <p:spPr>
            <a:xfrm>
              <a:off x="1315453" y="2938499"/>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5" name="Retângulo 44"/>
            <p:cNvSpPr/>
            <p:nvPr/>
          </p:nvSpPr>
          <p:spPr>
            <a:xfrm>
              <a:off x="1315453" y="3082368"/>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6" name="Retângulo 45"/>
            <p:cNvSpPr/>
            <p:nvPr/>
          </p:nvSpPr>
          <p:spPr>
            <a:xfrm>
              <a:off x="1315453" y="3223437"/>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7" name="Retângulo 46"/>
            <p:cNvSpPr/>
            <p:nvPr/>
          </p:nvSpPr>
          <p:spPr>
            <a:xfrm>
              <a:off x="1315453" y="3367306"/>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8" name="Retângulo 47"/>
            <p:cNvSpPr/>
            <p:nvPr/>
          </p:nvSpPr>
          <p:spPr>
            <a:xfrm>
              <a:off x="1315453" y="3511624"/>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49" name="Retângulo 48"/>
            <p:cNvSpPr/>
            <p:nvPr/>
          </p:nvSpPr>
          <p:spPr>
            <a:xfrm>
              <a:off x="1315453" y="3655493"/>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0" name="Retângulo 49"/>
            <p:cNvSpPr/>
            <p:nvPr/>
          </p:nvSpPr>
          <p:spPr>
            <a:xfrm>
              <a:off x="1315453" y="3785332"/>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1" name="Retângulo 50"/>
            <p:cNvSpPr/>
            <p:nvPr/>
          </p:nvSpPr>
          <p:spPr>
            <a:xfrm>
              <a:off x="1315453" y="3929201"/>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2" name="Retângulo 51"/>
            <p:cNvSpPr/>
            <p:nvPr/>
          </p:nvSpPr>
          <p:spPr>
            <a:xfrm>
              <a:off x="1315453" y="4060008"/>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sp>
          <p:nvSpPr>
            <p:cNvPr id="53" name="Retângulo 52"/>
            <p:cNvSpPr/>
            <p:nvPr/>
          </p:nvSpPr>
          <p:spPr>
            <a:xfrm>
              <a:off x="1315453" y="4203877"/>
              <a:ext cx="1524000" cy="54000"/>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600" dirty="0"/>
            </a:p>
          </p:txBody>
        </p:sp>
      </p:grpSp>
      <p:sp>
        <p:nvSpPr>
          <p:cNvPr id="25" name="CaixaDeTexto 24"/>
          <p:cNvSpPr txBox="1"/>
          <p:nvPr/>
        </p:nvSpPr>
        <p:spPr>
          <a:xfrm>
            <a:off x="375780" y="1131967"/>
            <a:ext cx="6889796" cy="500137"/>
          </a:xfrm>
          <a:prstGeom prst="rect">
            <a:avLst/>
          </a:prstGeom>
          <a:noFill/>
        </p:spPr>
        <p:txBody>
          <a:bodyPr wrap="square" lIns="68580" tIns="34290" rIns="68580" bIns="34290" rtlCol="0">
            <a:spAutoFit/>
          </a:bodyPr>
          <a:lstStyle/>
          <a:p>
            <a:r>
              <a:rPr lang="pt-BR" sz="2800" b="1" dirty="0">
                <a:solidFill>
                  <a:schemeClr val="accent1">
                    <a:lumMod val="50000"/>
                  </a:schemeClr>
                </a:solidFill>
                <a:latin typeface="Open Sans"/>
              </a:rPr>
              <a:t>IN Conjunta MP/CGU nº 01/2016</a:t>
            </a:r>
          </a:p>
        </p:txBody>
      </p:sp>
    </p:spTree>
    <p:extLst>
      <p:ext uri="{BB962C8B-B14F-4D97-AF65-F5344CB8AC3E}">
        <p14:creationId xmlns:p14="http://schemas.microsoft.com/office/powerpoint/2010/main" val="670296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34" name="Gráfico 33"/>
          <p:cNvGraphicFramePr/>
          <p:nvPr>
            <p:extLst/>
          </p:nvPr>
        </p:nvGraphicFramePr>
        <p:xfrm>
          <a:off x="4364118" y="4429601"/>
          <a:ext cx="427219" cy="4597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6" name="Gráfico 35"/>
          <p:cNvGraphicFramePr/>
          <p:nvPr>
            <p:extLst/>
          </p:nvPr>
        </p:nvGraphicFramePr>
        <p:xfrm>
          <a:off x="2774102" y="5297284"/>
          <a:ext cx="427219" cy="45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8" name="Gráfico 37"/>
          <p:cNvGraphicFramePr/>
          <p:nvPr>
            <p:extLst/>
          </p:nvPr>
        </p:nvGraphicFramePr>
        <p:xfrm>
          <a:off x="2842182" y="5307867"/>
          <a:ext cx="394169" cy="4349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9" name="Gráfico 38"/>
          <p:cNvGraphicFramePr/>
          <p:nvPr>
            <p:extLst/>
          </p:nvPr>
        </p:nvGraphicFramePr>
        <p:xfrm>
          <a:off x="4364118" y="4424186"/>
          <a:ext cx="394169" cy="43493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6" name="Gráfico 15"/>
          <p:cNvGraphicFramePr/>
          <p:nvPr>
            <p:extLst/>
          </p:nvPr>
        </p:nvGraphicFramePr>
        <p:xfrm>
          <a:off x="2842183" y="5293662"/>
          <a:ext cx="393859" cy="43481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 name="Diagrama 1"/>
          <p:cNvGraphicFramePr/>
          <p:nvPr>
            <p:extLst>
              <p:ext uri="{D42A27DB-BD31-4B8C-83A1-F6EECF244321}">
                <p14:modId xmlns:p14="http://schemas.microsoft.com/office/powerpoint/2010/main" val="3298123700"/>
              </p:ext>
            </p:extLst>
          </p:nvPr>
        </p:nvGraphicFramePr>
        <p:xfrm>
          <a:off x="1271526" y="2186373"/>
          <a:ext cx="9508825" cy="46716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6" name="Imagem 25"/>
          <p:cNvPicPr>
            <a:picLocks noChangeAspect="1"/>
          </p:cNvPicPr>
          <p:nvPr/>
        </p:nvPicPr>
        <p:blipFill>
          <a:blip r:embed="rId13">
            <a:duotone>
              <a:schemeClr val="accent6">
                <a:shade val="45000"/>
                <a:satMod val="135000"/>
              </a:schemeClr>
              <a:prstClr val="white"/>
            </a:duotone>
          </a:blip>
          <a:stretch>
            <a:fillRect/>
          </a:stretch>
        </p:blipFill>
        <p:spPr>
          <a:xfrm>
            <a:off x="1411648" y="2670894"/>
            <a:ext cx="1430934" cy="1062021"/>
          </a:xfrm>
          <a:prstGeom prst="rect">
            <a:avLst/>
          </a:prstGeom>
        </p:spPr>
      </p:pic>
      <p:pic>
        <p:nvPicPr>
          <p:cNvPr id="149" name="Imagem 148"/>
          <p:cNvPicPr/>
          <p:nvPr/>
        </p:nvPicPr>
        <p:blipFill rotWithShape="1">
          <a:blip r:embed="rId14">
            <a:duotone>
              <a:schemeClr val="accent6">
                <a:shade val="45000"/>
                <a:satMod val="135000"/>
              </a:schemeClr>
              <a:prstClr val="white"/>
            </a:duotone>
          </a:blip>
          <a:srcRect t="37037" r="31148"/>
          <a:stretch/>
        </p:blipFill>
        <p:spPr bwMode="auto">
          <a:xfrm>
            <a:off x="9799858" y="4205832"/>
            <a:ext cx="1120616" cy="907256"/>
          </a:xfrm>
          <a:prstGeom prst="rect">
            <a:avLst/>
          </a:prstGeom>
          <a:ln>
            <a:noFill/>
          </a:ln>
          <a:extLst>
            <a:ext uri="{53640926-AAD7-44D8-BBD7-CCE9431645EC}">
              <a14:shadowObscured xmlns:a14="http://schemas.microsoft.com/office/drawing/2010/main"/>
            </a:ext>
          </a:extLst>
        </p:spPr>
      </p:pic>
      <p:sp>
        <p:nvSpPr>
          <p:cNvPr id="15" name="CaixaDeTexto 14"/>
          <p:cNvSpPr txBox="1"/>
          <p:nvPr/>
        </p:nvSpPr>
        <p:spPr>
          <a:xfrm>
            <a:off x="229711" y="1123343"/>
            <a:ext cx="6889796" cy="561692"/>
          </a:xfrm>
          <a:prstGeom prst="rect">
            <a:avLst/>
          </a:prstGeom>
          <a:noFill/>
        </p:spPr>
        <p:txBody>
          <a:bodyPr wrap="square" lIns="68580" tIns="34290" rIns="68580" bIns="34290" rtlCol="0">
            <a:spAutoFit/>
          </a:bodyPr>
          <a:lstStyle/>
          <a:p>
            <a:r>
              <a:rPr lang="pt-BR" sz="3200" b="1" dirty="0">
                <a:solidFill>
                  <a:schemeClr val="accent1">
                    <a:lumMod val="50000"/>
                  </a:schemeClr>
                </a:solidFill>
                <a:latin typeface="Open Sans"/>
              </a:rPr>
              <a:t>IN Conjunta MP/CGU nº 01/2016</a:t>
            </a:r>
          </a:p>
        </p:txBody>
      </p:sp>
    </p:spTree>
    <p:extLst>
      <p:ext uri="{BB962C8B-B14F-4D97-AF65-F5344CB8AC3E}">
        <p14:creationId xmlns:p14="http://schemas.microsoft.com/office/powerpoint/2010/main" val="2811915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3" name="Retângulo 2">
            <a:extLst>
              <a:ext uri="{FF2B5EF4-FFF2-40B4-BE49-F238E27FC236}">
                <a16:creationId xmlns:a16="http://schemas.microsoft.com/office/drawing/2014/main" id="{B8E9AE55-8CF2-4C8C-853B-6D820B628A75}"/>
              </a:ext>
            </a:extLst>
          </p:cNvPr>
          <p:cNvSpPr/>
          <p:nvPr/>
        </p:nvSpPr>
        <p:spPr>
          <a:xfrm>
            <a:off x="977545" y="2336619"/>
            <a:ext cx="8792595" cy="3347509"/>
          </a:xfrm>
          <a:prstGeom prst="rect">
            <a:avLst/>
          </a:prstGeom>
        </p:spPr>
        <p:txBody>
          <a:bodyPr wrap="square" lIns="91430" tIns="45715" rIns="91430" bIns="45715">
            <a:spAutoFit/>
          </a:bodyPr>
          <a:lstStyle/>
          <a:p>
            <a:pPr marL="457153" indent="-457153">
              <a:lnSpc>
                <a:spcPct val="150000"/>
              </a:lnSpc>
              <a:buFont typeface="Wingdings" pitchFamily="2" charset="2"/>
              <a:buChar char="§"/>
            </a:pPr>
            <a:r>
              <a:rPr lang="pt-BR" sz="2400" dirty="0"/>
              <a:t>Mapear </a:t>
            </a:r>
            <a:r>
              <a:rPr lang="pt-BR" sz="2400" b="1" dirty="0"/>
              <a:t>incertezas</a:t>
            </a:r>
          </a:p>
          <a:p>
            <a:pPr marL="457153" indent="-457153">
              <a:lnSpc>
                <a:spcPct val="150000"/>
              </a:lnSpc>
              <a:buFont typeface="Wingdings" pitchFamily="2" charset="2"/>
              <a:buChar char="§"/>
            </a:pPr>
            <a:r>
              <a:rPr lang="pt-BR" sz="2400" dirty="0"/>
              <a:t>Avaliar </a:t>
            </a:r>
            <a:r>
              <a:rPr lang="pt-BR" sz="2400" b="1" dirty="0"/>
              <a:t>probabilidade</a:t>
            </a:r>
            <a:r>
              <a:rPr lang="pt-BR" sz="2400" dirty="0"/>
              <a:t> (causas dos eventos) e </a:t>
            </a:r>
            <a:r>
              <a:rPr lang="pt-BR" sz="2400" b="1" dirty="0"/>
              <a:t>impacto</a:t>
            </a:r>
            <a:r>
              <a:rPr lang="pt-BR" sz="2400" dirty="0"/>
              <a:t> (efeitos dos eventos)</a:t>
            </a:r>
          </a:p>
          <a:p>
            <a:pPr marL="457153" indent="-457153">
              <a:lnSpc>
                <a:spcPct val="150000"/>
              </a:lnSpc>
              <a:buFont typeface="Wingdings" pitchFamily="2" charset="2"/>
              <a:buChar char="§"/>
            </a:pPr>
            <a:r>
              <a:rPr lang="pt-BR" sz="2400" b="1" dirty="0"/>
              <a:t>Decidir</a:t>
            </a:r>
            <a:r>
              <a:rPr lang="pt-BR" sz="2400" dirty="0"/>
              <a:t> (o que pode incluir aceitar a ocorrência dos eventos e/ou aceitar seus efeitos)</a:t>
            </a:r>
          </a:p>
          <a:p>
            <a:pPr marL="457153" indent="-457153">
              <a:lnSpc>
                <a:spcPct val="150000"/>
              </a:lnSpc>
              <a:buFont typeface="Wingdings" pitchFamily="2" charset="2"/>
              <a:buChar char="§"/>
            </a:pPr>
            <a:r>
              <a:rPr lang="pt-BR" sz="2400" dirty="0"/>
              <a:t>Revisar/</a:t>
            </a:r>
            <a:r>
              <a:rPr lang="pt-BR" sz="2400" b="1" dirty="0"/>
              <a:t>monitorar</a:t>
            </a:r>
          </a:p>
        </p:txBody>
      </p:sp>
      <p:sp>
        <p:nvSpPr>
          <p:cNvPr id="4" name="Título 1">
            <a:extLst>
              <a:ext uri="{FF2B5EF4-FFF2-40B4-BE49-F238E27FC236}">
                <a16:creationId xmlns:a16="http://schemas.microsoft.com/office/drawing/2014/main" id="{FC09F074-6207-49A8-B7E0-B33521578DA4}"/>
              </a:ext>
            </a:extLst>
          </p:cNvPr>
          <p:cNvSpPr txBox="1">
            <a:spLocks/>
          </p:cNvSpPr>
          <p:nvPr/>
        </p:nvSpPr>
        <p:spPr>
          <a:xfrm>
            <a:off x="237995" y="977780"/>
            <a:ext cx="5135848" cy="831850"/>
          </a:xfrm>
          <a:prstGeom prst="rect">
            <a:avLst/>
          </a:prstGeom>
        </p:spPr>
        <p:txBody>
          <a:bodyPr vert="horz" lIns="91430" tIns="45715" rIns="91430" bIns="45715"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pPr>
            <a:r>
              <a:rPr lang="pt-BR" sz="3200" b="1" dirty="0">
                <a:solidFill>
                  <a:schemeClr val="accent1">
                    <a:lumMod val="50000"/>
                  </a:schemeClr>
                </a:solidFill>
                <a:latin typeface="Open Sans"/>
                <a:ea typeface="+mn-ea"/>
                <a:cs typeface="+mn-cs"/>
              </a:rPr>
              <a:t>Gestão de riscos</a:t>
            </a:r>
          </a:p>
        </p:txBody>
      </p:sp>
    </p:spTree>
    <p:extLst>
      <p:ext uri="{BB962C8B-B14F-4D97-AF65-F5344CB8AC3E}">
        <p14:creationId xmlns:p14="http://schemas.microsoft.com/office/powerpoint/2010/main" val="1296450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sp>
        <p:nvSpPr>
          <p:cNvPr id="4" name="Espaço Reservado para Texto 3"/>
          <p:cNvSpPr>
            <a:spLocks noGrp="1"/>
          </p:cNvSpPr>
          <p:nvPr>
            <p:ph type="body" sz="quarter" idx="4294967295"/>
          </p:nvPr>
        </p:nvSpPr>
        <p:spPr>
          <a:xfrm>
            <a:off x="179365" y="1105025"/>
            <a:ext cx="8215313" cy="571500"/>
          </a:xfrm>
          <a:prstGeom prst="rect">
            <a:avLst/>
          </a:prstGeom>
        </p:spPr>
        <p:txBody>
          <a:bodyPr>
            <a:noAutofit/>
          </a:bodyPr>
          <a:lstStyle/>
          <a:p>
            <a:pPr marL="0" indent="0" algn="ctr">
              <a:buNone/>
            </a:pPr>
            <a:r>
              <a:rPr lang="pt-BR" b="1" dirty="0">
                <a:solidFill>
                  <a:schemeClr val="accent1">
                    <a:lumMod val="50000"/>
                  </a:schemeClr>
                </a:solidFill>
                <a:latin typeface="Open Sans"/>
              </a:rPr>
              <a:t>Por que gerir riscos na administração pública?</a:t>
            </a:r>
          </a:p>
        </p:txBody>
      </p:sp>
      <p:graphicFrame>
        <p:nvGraphicFramePr>
          <p:cNvPr id="2" name="Diagrama 1"/>
          <p:cNvGraphicFramePr/>
          <p:nvPr>
            <p:extLst/>
          </p:nvPr>
        </p:nvGraphicFramePr>
        <p:xfrm>
          <a:off x="2967612" y="2267857"/>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aixaDeTexto 4"/>
          <p:cNvSpPr txBox="1"/>
          <p:nvPr/>
        </p:nvSpPr>
        <p:spPr>
          <a:xfrm>
            <a:off x="3815023" y="5210471"/>
            <a:ext cx="4401178" cy="954107"/>
          </a:xfrm>
          <a:prstGeom prst="rect">
            <a:avLst/>
          </a:prstGeom>
          <a:noFill/>
        </p:spPr>
        <p:txBody>
          <a:bodyPr wrap="square" rtlCol="0">
            <a:spAutoFit/>
          </a:bodyPr>
          <a:lstStyle/>
          <a:p>
            <a:pPr algn="ctr"/>
            <a:r>
              <a:rPr lang="pt-BR" sz="2800" dirty="0"/>
              <a:t>Projetos, iniciativas e controles</a:t>
            </a:r>
          </a:p>
        </p:txBody>
      </p:sp>
    </p:spTree>
    <p:extLst>
      <p:ext uri="{BB962C8B-B14F-4D97-AF65-F5344CB8AC3E}">
        <p14:creationId xmlns:p14="http://schemas.microsoft.com/office/powerpoint/2010/main" val="10072714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2" name="Diagrama 1">
            <a:extLst>
              <a:ext uri="{FF2B5EF4-FFF2-40B4-BE49-F238E27FC236}">
                <a16:creationId xmlns:a16="http://schemas.microsoft.com/office/drawing/2014/main" id="{99DD2A7B-884C-4A04-8662-FA2A91519BC1}"/>
              </a:ext>
            </a:extLst>
          </p:cNvPr>
          <p:cNvGraphicFramePr/>
          <p:nvPr>
            <p:extLst>
              <p:ext uri="{D42A27DB-BD31-4B8C-83A1-F6EECF244321}">
                <p14:modId xmlns:p14="http://schemas.microsoft.com/office/powerpoint/2010/main" val="2620139156"/>
              </p:ext>
            </p:extLst>
          </p:nvPr>
        </p:nvGraphicFramePr>
        <p:xfrm>
          <a:off x="1685315" y="1631739"/>
          <a:ext cx="9638213"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aixaDeTexto 3">
            <a:extLst>
              <a:ext uri="{FF2B5EF4-FFF2-40B4-BE49-F238E27FC236}">
                <a16:creationId xmlns:a16="http://schemas.microsoft.com/office/drawing/2014/main" id="{8D8D0372-F520-41FB-8E2E-C278B9B3446D}"/>
              </a:ext>
            </a:extLst>
          </p:cNvPr>
          <p:cNvSpPr txBox="1"/>
          <p:nvPr/>
        </p:nvSpPr>
        <p:spPr>
          <a:xfrm>
            <a:off x="386363" y="1046964"/>
            <a:ext cx="11288186" cy="584775"/>
          </a:xfrm>
          <a:prstGeom prst="rect">
            <a:avLst/>
          </a:prstGeom>
          <a:noFill/>
        </p:spPr>
        <p:txBody>
          <a:bodyPr wrap="square" rtlCol="0">
            <a:spAutoFit/>
          </a:bodyPr>
          <a:lstStyle/>
          <a:p>
            <a:r>
              <a:rPr lang="pt-BR" sz="3200" b="1" dirty="0">
                <a:solidFill>
                  <a:schemeClr val="accent1">
                    <a:lumMod val="50000"/>
                  </a:schemeClr>
                </a:solidFill>
                <a:latin typeface="Open Sans"/>
              </a:rPr>
              <a:t>Papel da Auditoria Interna</a:t>
            </a:r>
          </a:p>
        </p:txBody>
      </p:sp>
    </p:spTree>
    <p:extLst>
      <p:ext uri="{BB962C8B-B14F-4D97-AF65-F5344CB8AC3E}">
        <p14:creationId xmlns:p14="http://schemas.microsoft.com/office/powerpoint/2010/main" val="28975589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75000">
              <a:schemeClr val="accent1">
                <a:lumMod val="20000"/>
                <a:lumOff val="80000"/>
              </a:schemeClr>
            </a:gs>
            <a:gs pos="0">
              <a:schemeClr val="tx2">
                <a:lumMod val="40000"/>
                <a:lumOff val="60000"/>
              </a:schemeClr>
            </a:gs>
            <a:gs pos="98000">
              <a:srgbClr val="0070C0"/>
            </a:gs>
          </a:gsLst>
          <a:lin ang="9000000" scaled="0"/>
        </a:gradFill>
        <a:effectLst/>
      </p:bgPr>
    </p:bg>
    <p:spTree>
      <p:nvGrpSpPr>
        <p:cNvPr id="1" name=""/>
        <p:cNvGrpSpPr/>
        <p:nvPr/>
      </p:nvGrpSpPr>
      <p:grpSpPr>
        <a:xfrm>
          <a:off x="0" y="0"/>
          <a:ext cx="0" cy="0"/>
          <a:chOff x="0" y="0"/>
          <a:chExt cx="0" cy="0"/>
        </a:xfrm>
      </p:grpSpPr>
      <p:graphicFrame>
        <p:nvGraphicFramePr>
          <p:cNvPr id="13" name="Gráfico 12"/>
          <p:cNvGraphicFramePr/>
          <p:nvPr>
            <p:extLst/>
          </p:nvPr>
        </p:nvGraphicFramePr>
        <p:xfrm>
          <a:off x="4395776" y="3182925"/>
          <a:ext cx="394169" cy="4349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7" name="Gráfico 26"/>
          <p:cNvGraphicFramePr/>
          <p:nvPr>
            <p:extLst/>
          </p:nvPr>
        </p:nvGraphicFramePr>
        <p:xfrm>
          <a:off x="2842182" y="5483308"/>
          <a:ext cx="394169" cy="434930"/>
        </p:xfrm>
        <a:graphic>
          <a:graphicData uri="http://schemas.openxmlformats.org/drawingml/2006/chart">
            <c:chart xmlns:c="http://schemas.openxmlformats.org/drawingml/2006/chart" xmlns:r="http://schemas.openxmlformats.org/officeDocument/2006/relationships" r:id="rId3"/>
          </a:graphicData>
        </a:graphic>
      </p:graphicFrame>
      <p:sp>
        <p:nvSpPr>
          <p:cNvPr id="20" name="CaixaDeTexto 19"/>
          <p:cNvSpPr txBox="1"/>
          <p:nvPr/>
        </p:nvSpPr>
        <p:spPr>
          <a:xfrm>
            <a:off x="2102669" y="2080076"/>
            <a:ext cx="6889796" cy="392415"/>
          </a:xfrm>
          <a:prstGeom prst="rect">
            <a:avLst/>
          </a:prstGeom>
          <a:noFill/>
        </p:spPr>
        <p:txBody>
          <a:bodyPr wrap="square" lIns="68580" tIns="34290" rIns="68580" bIns="34290" rtlCol="0">
            <a:spAutoFit/>
          </a:bodyPr>
          <a:lstStyle/>
          <a:p>
            <a:pPr algn="ctr"/>
            <a:r>
              <a:rPr lang="pt-BR" sz="2100" b="1" dirty="0">
                <a:solidFill>
                  <a:srgbClr val="035363"/>
                </a:solidFill>
              </a:rPr>
              <a:t>Comitê de Governança, Riscos e Controles</a:t>
            </a:r>
          </a:p>
        </p:txBody>
      </p:sp>
      <p:graphicFrame>
        <p:nvGraphicFramePr>
          <p:cNvPr id="3" name="Diagrama 2"/>
          <p:cNvGraphicFramePr/>
          <p:nvPr>
            <p:extLst>
              <p:ext uri="{D42A27DB-BD31-4B8C-83A1-F6EECF244321}">
                <p14:modId xmlns:p14="http://schemas.microsoft.com/office/powerpoint/2010/main" val="388759617"/>
              </p:ext>
            </p:extLst>
          </p:nvPr>
        </p:nvGraphicFramePr>
        <p:xfrm>
          <a:off x="2842182" y="2671700"/>
          <a:ext cx="4852725" cy="25852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1" name="Imagem 20"/>
          <p:cNvPicPr>
            <a:picLocks noChangeAspect="1"/>
          </p:cNvPicPr>
          <p:nvPr/>
        </p:nvPicPr>
        <p:blipFill>
          <a:blip r:embed="rId9">
            <a:duotone>
              <a:schemeClr val="accent6">
                <a:shade val="45000"/>
                <a:satMod val="135000"/>
              </a:schemeClr>
              <a:prstClr val="white"/>
            </a:duotone>
          </a:blip>
          <a:stretch>
            <a:fillRect/>
          </a:stretch>
        </p:blipFill>
        <p:spPr>
          <a:xfrm>
            <a:off x="8599359" y="3400390"/>
            <a:ext cx="1963628" cy="1457380"/>
          </a:xfrm>
          <a:prstGeom prst="rect">
            <a:avLst/>
          </a:prstGeom>
        </p:spPr>
      </p:pic>
      <p:sp>
        <p:nvSpPr>
          <p:cNvPr id="7" name="CaixaDeTexto 6"/>
          <p:cNvSpPr txBox="1"/>
          <p:nvPr/>
        </p:nvSpPr>
        <p:spPr>
          <a:xfrm>
            <a:off x="88982" y="1074258"/>
            <a:ext cx="6889796" cy="500137"/>
          </a:xfrm>
          <a:prstGeom prst="rect">
            <a:avLst/>
          </a:prstGeom>
          <a:noFill/>
        </p:spPr>
        <p:txBody>
          <a:bodyPr wrap="square" lIns="68580" tIns="34290" rIns="68580" bIns="34290" rtlCol="0">
            <a:spAutoFit/>
          </a:bodyPr>
          <a:lstStyle/>
          <a:p>
            <a:r>
              <a:rPr lang="pt-BR" sz="2800" b="1" dirty="0">
                <a:solidFill>
                  <a:schemeClr val="accent1">
                    <a:lumMod val="50000"/>
                  </a:schemeClr>
                </a:solidFill>
                <a:latin typeface="Open Sans"/>
              </a:rPr>
              <a:t>IN Conjunta MP/CGU nº 01/2016</a:t>
            </a:r>
          </a:p>
        </p:txBody>
      </p:sp>
    </p:spTree>
    <p:extLst>
      <p:ext uri="{BB962C8B-B14F-4D97-AF65-F5344CB8AC3E}">
        <p14:creationId xmlns:p14="http://schemas.microsoft.com/office/powerpoint/2010/main" val="2522812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6/358.4865/68.59843/68.69473"/>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7/358.4865/103.4646/103.36"/>
</p:tagLst>
</file>

<file path=ppt/tags/tag1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3/71.99992/272.965/275.1478"/>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36/210.082/640.5827/252.0493"/>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36/114.7876/72.21693/72.28346"/>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71/730.5/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37/566.1416/37.07858"/>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4/358.4865/68.59843/68.69473"/>
</p:tagLst>
</file>

<file path=ppt/tags/tag1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5/358.4865/103.4646/103.36"/>
</p:tagLst>
</file>

<file path=ppt/tags/tag12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06/71.99992/272.965/275.1478"/>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12/210.082/640.5827/252.0493"/>
</p:tagLst>
</file>

<file path=ppt/tags/tag1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12/114.7876/72.21693/72.28346"/>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55/730.5/0"/>
</p:tagLst>
</file>

<file path=ppt/tags/tag13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29/566.1416/37.07858"/>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Tema do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o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asa Civil Brasil Grid A4">
  <a:themeElements>
    <a:clrScheme name="Custom 6">
      <a:dk1>
        <a:srgbClr val="000000"/>
      </a:dk1>
      <a:lt1>
        <a:sysClr val="window" lastClr="FFFFFF"/>
      </a:lt1>
      <a:dk2>
        <a:srgbClr val="1659BF"/>
      </a:dk2>
      <a:lt2>
        <a:srgbClr val="F2F2F2"/>
      </a:lt2>
      <a:accent1>
        <a:srgbClr val="081F40"/>
      </a:accent1>
      <a:accent2>
        <a:srgbClr val="0E3774"/>
      </a:accent2>
      <a:accent3>
        <a:srgbClr val="FFDE00"/>
      </a:accent3>
      <a:accent4>
        <a:srgbClr val="4386E9"/>
      </a:accent4>
      <a:accent5>
        <a:srgbClr val="6E6F73"/>
      </a:accent5>
      <a:accent6>
        <a:srgbClr val="009B3A"/>
      </a:accent6>
      <a:hlink>
        <a:srgbClr val="0F4098"/>
      </a:hlink>
      <a:folHlink>
        <a:srgbClr val="87B2F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tlCol="0" anchor="ctr" anchorCtr="0"/>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cap="rnd">
          <a:noFill/>
          <a:prstDash val="solid"/>
        </a:ln>
      </a:spPr>
      <a:bodyPr wrap="none" lIns="0" tIns="0" rIns="0" bIns="0" rtlCol="0" anchor="ctr" anchorCtr="0">
        <a:noAutofit/>
      </a:bodyPr>
      <a:lstStyle>
        <a:defPPr algn="ctr">
          <a:lnSpc>
            <a:spcPct val="90000"/>
          </a:lnSpc>
          <a:spcAft>
            <a:spcPts val="600"/>
          </a:spcAft>
          <a:defRPr sz="1200" dirty="0" err="1" smtClean="0"/>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A4.potx" id="{FD128D5F-54C9-4660-96FD-399E95DF928D}" vid="{7EF5A221-22E9-434F-9846-7D43FE1E807C}"/>
    </a:ext>
  </a:extLst>
</a:theme>
</file>

<file path=ppt/theme/theme3.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1E465DB345C3DD4EAF4B67B8D324887D" ma:contentTypeVersion="10" ma:contentTypeDescription="Crie um novo documento." ma:contentTypeScope="" ma:versionID="36e1f248c97855ca8a106449b71720ed">
  <xsd:schema xmlns:xsd="http://www.w3.org/2001/XMLSchema" xmlns:xs="http://www.w3.org/2001/XMLSchema" xmlns:p="http://schemas.microsoft.com/office/2006/metadata/properties" xmlns:ns2="93d72014-7836-4b73-8639-3bf39feb55bb" xmlns:ns3="67d0ff93-9992-4754-ba7a-dbbf76807a01" targetNamespace="http://schemas.microsoft.com/office/2006/metadata/properties" ma:root="true" ma:fieldsID="4103380d4593bee8fb4919b0ece8d17e" ns2:_="" ns3:_="">
    <xsd:import namespace="93d72014-7836-4b73-8639-3bf39feb55bb"/>
    <xsd:import namespace="67d0ff93-9992-4754-ba7a-dbbf76807a01"/>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3:SharedWithUsers" minOccurs="0"/>
                <xsd:element ref="ns3:SharedWithDetails" minOccurs="0"/>
                <xsd:element ref="ns2:MediaServiceAutoTags" minOccurs="0"/>
                <xsd:element ref="ns2:MediaServiceOCR" minOccurs="0"/>
                <xsd:element ref="ns2:MediaServiceDateTaken"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d72014-7836-4b73-8639-3bf39feb55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d0ff93-9992-4754-ba7a-dbbf76807a01" elementFormDefault="qualified">
    <xsd:import namespace="http://schemas.microsoft.com/office/2006/documentManagement/types"/>
    <xsd:import namespace="http://schemas.microsoft.com/office/infopath/2007/PartnerControls"/>
    <xsd:element name="SharedWithUsers" ma:index="12" nillable="true" ma:displayName="Compartilhado com"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talhes de Compartilhado Com"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ú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2BF108-7F0E-494C-AB34-BA7D54FC7ED1}">
  <ds:schemaRefs>
    <ds:schemaRef ds:uri="93d72014-7836-4b73-8639-3bf39feb55bb"/>
    <ds:schemaRef ds:uri="http://purl.org/dc/terms/"/>
    <ds:schemaRef ds:uri="http://purl.org/dc/elements/1.1/"/>
    <ds:schemaRef ds:uri="http://schemas.openxmlformats.org/package/2006/metadata/core-properties"/>
    <ds:schemaRef ds:uri="http://schemas.microsoft.com/office/infopath/2007/PartnerControls"/>
    <ds:schemaRef ds:uri="http://schemas.microsoft.com/office/2006/metadata/properties"/>
    <ds:schemaRef ds:uri="http://schemas.microsoft.com/office/2006/documentManagement/types"/>
    <ds:schemaRef ds:uri="http://purl.org/dc/dcmitype/"/>
    <ds:schemaRef ds:uri="67d0ff93-9992-4754-ba7a-dbbf76807a01"/>
    <ds:schemaRef ds:uri="http://www.w3.org/XML/1998/namespace"/>
  </ds:schemaRefs>
</ds:datastoreItem>
</file>

<file path=customXml/itemProps2.xml><?xml version="1.0" encoding="utf-8"?>
<ds:datastoreItem xmlns:ds="http://schemas.openxmlformats.org/officeDocument/2006/customXml" ds:itemID="{6118ABF7-892B-42C6-874C-B51956C2A8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d72014-7836-4b73-8639-3bf39feb55bb"/>
    <ds:schemaRef ds:uri="67d0ff93-9992-4754-ba7a-dbbf76807a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5DFEA8-41A6-45DE-BA97-7583345969D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780</TotalTime>
  <Words>1724</Words>
  <Application>Microsoft Office PowerPoint</Application>
  <PresentationFormat>Widescreen</PresentationFormat>
  <Paragraphs>230</Paragraphs>
  <Slides>27</Slides>
  <Notes>21</Notes>
  <HiddenSlides>0</HiddenSlides>
  <MMClips>0</MMClips>
  <ScaleCrop>false</ScaleCrop>
  <HeadingPairs>
    <vt:vector size="8" baseType="variant">
      <vt:variant>
        <vt:lpstr>Fontes usadas</vt:lpstr>
      </vt:variant>
      <vt:variant>
        <vt:i4>12</vt:i4>
      </vt:variant>
      <vt:variant>
        <vt:lpstr>Tema</vt:lpstr>
      </vt:variant>
      <vt:variant>
        <vt:i4>2</vt:i4>
      </vt:variant>
      <vt:variant>
        <vt:lpstr>Servidores OLE inseridos</vt:lpstr>
      </vt:variant>
      <vt:variant>
        <vt:i4>1</vt:i4>
      </vt:variant>
      <vt:variant>
        <vt:lpstr>Títulos de slides</vt:lpstr>
      </vt:variant>
      <vt:variant>
        <vt:i4>27</vt:i4>
      </vt:variant>
    </vt:vector>
  </HeadingPairs>
  <TitlesOfParts>
    <vt:vector size="42" baseType="lpstr">
      <vt:lpstr>Arial</vt:lpstr>
      <vt:lpstr>Calibri</vt:lpstr>
      <vt:lpstr>Calibri Light</vt:lpstr>
      <vt:lpstr>Century Gothic</vt:lpstr>
      <vt:lpstr>Courier New</vt:lpstr>
      <vt:lpstr>GillSans</vt:lpstr>
      <vt:lpstr>Gisha</vt:lpstr>
      <vt:lpstr>Henderson BCG Sans</vt:lpstr>
      <vt:lpstr>Open Sans</vt:lpstr>
      <vt:lpstr>Times New Roman</vt:lpstr>
      <vt:lpstr>Trebuchet MS</vt:lpstr>
      <vt:lpstr>Wingdings</vt:lpstr>
      <vt:lpstr>Office Theme</vt:lpstr>
      <vt:lpstr>Casa Civil Brasil Grid A4</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Referenciais</vt:lpstr>
      <vt:lpstr>Referenciais</vt:lpstr>
      <vt:lpstr>Apresentação do PowerPoint</vt:lpstr>
      <vt:lpstr>Apresentação do PowerPoint</vt:lpstr>
      <vt:lpstr>Apresentação do PowerPoint</vt:lpstr>
      <vt:lpstr>Para cada um dos elementos, o guia oferece ferramentas, explicações e exemplos.</vt:lpstr>
      <vt:lpstr>Guia ex-post</vt:lpstr>
      <vt:lpstr>Apresentação do PowerPoint</vt:lpstr>
      <vt:lpstr>Apresentação do PowerPoint</vt:lpstr>
      <vt:lpstr>Apontamentos:</vt:lpstr>
      <vt:lpstr>Deliberação CCCI nº 02/2019: Utilização de guias lançados no âmbito da agenda estratégica do Governo Federal como referência na realização de trabalhos de auditoria. (Aprovada pela Portaria nº 1.944, de 19 de junho de 2019)</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Vera Raquel Lopes Linhares da Silva</dc:creator>
  <cp:lastModifiedBy>Antonio Carlos Bezerra Leonel</cp:lastModifiedBy>
  <cp:revision>56</cp:revision>
  <dcterms:created xsi:type="dcterms:W3CDTF">2019-10-31T12:00:59Z</dcterms:created>
  <dcterms:modified xsi:type="dcterms:W3CDTF">2019-11-21T15:22:39Z</dcterms:modified>
</cp:coreProperties>
</file>